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removePersonalInfoOnSave="1">
  <p:sldMasterIdLst>
    <p:sldMasterId id="2147483672" r:id="rId1"/>
  </p:sldMasterIdLst>
  <p:notesMasterIdLst>
    <p:notesMasterId r:id="rId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howPr showNarration="1">
    <p:present/>
    <p:sldAll/>
    <p:penClr>
      <a:prstClr val="red"/>
    </p:penClr>
  </p:showPr>
  <p:extLst>
    <p:ext uri="ACF4677E-8BD2-47ae-8A1F-98590045965D">
      <hp:hncThemeShow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normalViewPr showOutlineIcons="0" horzBarState="maximized">
    <p:restoredLeft sz="23019"/>
    <p:restoredTop sz="94660"/>
  </p:normalViewPr>
  <p:slideViewPr>
    <p:cSldViewPr snapToGrid="0">
      <p:cViewPr>
        <p:scale>
          <a:sx n="90" d="100"/>
          <a:sy n="90" d="100"/>
        </p:scale>
        <p:origin x="240" y="390"/>
      </p:cViewPr>
      <p:guideLst>
        <p:guide orient="horz" pos="2156"/>
        <p:guide pos="3837"/>
        <p:guide pos="3978"/>
        <p:guide pos="3897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</p:cSldViewPr>
  </p:notesViewPr>
  <p:gridSpacing cx="36868100" cy="36868100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slide" Target="slides/slide8.xml"  /><Relationship Id="rId11" Type="http://schemas.openxmlformats.org/officeDocument/2006/relationships/slide" Target="slides/slide9.xml"  /><Relationship Id="rId12" Type="http://schemas.openxmlformats.org/officeDocument/2006/relationships/slide" Target="slides/slide10.xml"  /><Relationship Id="rId13" Type="http://schemas.openxmlformats.org/officeDocument/2006/relationships/slide" Target="slides/slide11.xml"  /><Relationship Id="rId14" Type="http://schemas.openxmlformats.org/officeDocument/2006/relationships/slide" Target="slides/slide12.xml"  /><Relationship Id="rId15" Type="http://schemas.openxmlformats.org/officeDocument/2006/relationships/slide" Target="slides/slide13.xml"  /><Relationship Id="rId16" Type="http://schemas.openxmlformats.org/officeDocument/2006/relationships/slide" Target="slides/slide14.xml"  /><Relationship Id="rId17" Type="http://schemas.openxmlformats.org/officeDocument/2006/relationships/slide" Target="slides/slide15.xml"  /><Relationship Id="rId18" Type="http://schemas.openxmlformats.org/officeDocument/2006/relationships/slide" Target="slides/slide16.xml"  /><Relationship Id="rId19" Type="http://schemas.openxmlformats.org/officeDocument/2006/relationships/presProps" Target="presProps.xml"  /><Relationship Id="rId2" Type="http://schemas.openxmlformats.org/officeDocument/2006/relationships/notesMaster" Target="notesMasters/notesMaster1.xml"  /><Relationship Id="rId20" Type="http://schemas.openxmlformats.org/officeDocument/2006/relationships/viewProps" Target="viewProps.xml"  /><Relationship Id="rId21" Type="http://schemas.openxmlformats.org/officeDocument/2006/relationships/theme" Target="theme/theme1.xml"  /><Relationship Id="rId22" Type="http://schemas.openxmlformats.org/officeDocument/2006/relationships/tableStyles" Target="tableStyles.xml"  /><Relationship Id="rId3" Type="http://schemas.openxmlformats.org/officeDocument/2006/relationships/slide" Target="slides/slide1.xml"  /><Relationship Id="rId4" Type="http://schemas.openxmlformats.org/officeDocument/2006/relationships/slide" Target="slides/slide2.xml"  /><Relationship Id="rId5" Type="http://schemas.openxmlformats.org/officeDocument/2006/relationships/slide" Target="slides/slide3.xml"  /><Relationship Id="rId6" Type="http://schemas.openxmlformats.org/officeDocument/2006/relationships/slide" Target="slides/slide4.xml"  /><Relationship Id="rId7" Type="http://schemas.openxmlformats.org/officeDocument/2006/relationships/slide" Target="slides/slide5.xml"  /><Relationship Id="rId8" Type="http://schemas.openxmlformats.org/officeDocument/2006/relationships/slide" Target="slides/slide6.xml"  /><Relationship Id="rId9" Type="http://schemas.openxmlformats.org/officeDocument/2006/relationships/slide" Target="slides/slide7.xml"  /></Relationships>
</file>

<file path=ppt/notesMasters/_rels/notes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2.xml"  /></Relationships>
</file>

<file path=ppt/notesMasters/notesMaster1.xml><?xml version="1.0" encoding="utf-8"?>
<p:notes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 lang="ko-KR" altLang="en-US"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 lang="ko-KR" altLang="en-US"/>
            </a:pPr>
            <a:fld id="{26AB1077-69F0-4CE0-B873-961BEB58702E}" type="datetime1">
              <a:rPr lang="en-ID"/>
              <a:pPr lvl="0">
                <a:defRPr lang="ko-KR" altLang="en-US"/>
              </a:pPr>
              <a:t>2021-06-06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 lang="ko-KR" altLang="en-US"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/>
          <a:lstStyle/>
          <a:p>
            <a:pPr lvl="0">
              <a:defRPr lang="ko-KR" altLang="en-US"/>
            </a:pPr>
            <a:r>
              <a:rPr lang="en-US"/>
              <a:t>Click to edit Master text styles</a:t>
            </a:r>
            <a:endParaRPr lang="en-US"/>
          </a:p>
          <a:p>
            <a:pPr lvl="1">
              <a:defRPr lang="ko-KR" altLang="en-US"/>
            </a:pPr>
            <a:r>
              <a:rPr lang="en-US"/>
              <a:t>Second level</a:t>
            </a:r>
            <a:endParaRPr lang="en-US"/>
          </a:p>
          <a:p>
            <a:pPr lvl="2">
              <a:defRPr lang="ko-KR" altLang="en-US"/>
            </a:pPr>
            <a:r>
              <a:rPr lang="en-US"/>
              <a:t>Third level</a:t>
            </a:r>
            <a:endParaRPr lang="en-US"/>
          </a:p>
          <a:p>
            <a:pPr lvl="3">
              <a:defRPr lang="ko-KR" altLang="en-US"/>
            </a:pPr>
            <a:r>
              <a:rPr lang="en-US"/>
              <a:t>Fourth level</a:t>
            </a:r>
            <a:endParaRPr lang="en-US"/>
          </a:p>
          <a:p>
            <a:pPr lvl="4">
              <a:defRPr lang="ko-KR" altLang="en-US"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 lang="ko-KR" altLang="en-US"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 lang="ko-KR" altLang="en-US"/>
            </a:pPr>
            <a:fld id="{89749012-E447-46F3-AD38-687646295937}" type="slidenum">
              <a:rPr lang="en-ID"/>
              <a:pPr lvl="0">
                <a:defRPr lang="ko-KR" altLang="en-US"/>
              </a:pPr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tags" Target="../tags/tag1.xml"  /><Relationship Id="rId2" Type="http://schemas.openxmlformats.org/officeDocument/2006/relationships/tags" Target="../tags/tag2.xml"  /><Relationship Id="rId3" Type="http://schemas.openxmlformats.org/officeDocument/2006/relationships/slideMaster" Target="../slideMasters/slideMaster1.xml"  /><Relationship Id="rId4" Type="http://schemas.openxmlformats.org/officeDocument/2006/relationships/oleObject" Target="../embeddings/oleObject1.bin"  /><Relationship Id="rId5" Type="http://schemas.openxmlformats.org/officeDocument/2006/relationships/image" Target="../media/image1.emf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C245EC-002A-4EDF-992C-9229C4AA94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5656C1-9A7D-462D-A13D-61C656D182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A2F089-1AA5-48F3-926C-CD4CB68340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32C5DE-C381-4247-8A9A-F7D14314A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4DF05-C099-4142-A825-2ADC49A2C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49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67BFC1-2807-4173-B322-FC26022F8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1EBF61-478C-4905-BB2E-E8811E3108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DA824-4765-4B49-A21A-781D0E8D55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DAC7E9-8B29-45C5-B86D-46BC772E0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1CA9D-D2EB-4717-AA98-79FFB0EE5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468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5E4ADF-C245-4FD0-9CF4-8E4E9ED0CD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4513A6-141A-4296-8A0E-4E7FDD2C13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AD794F-2A85-486D-BB04-2872A7CB49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7428E3-ACF7-42FB-8BCD-BFAEC61A6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4E566D-77E4-46B4-B96A-1567954D4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989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및 내용 4개" type="fourObj" preserve="1">
  <p:cSld name="제목 및 내용 4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 lang="ko-KR" altLang="en-US"/>
            </a:pPr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2196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2196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5" name="내용 개체 틀 4"/>
          <p:cNvSpPr>
            <a:spLocks noGrp="1"/>
          </p:cNvSpPr>
          <p:nvPr>
            <p:ph sz="half" idx="3"/>
          </p:nvPr>
        </p:nvSpPr>
        <p:spPr>
          <a:xfrm>
            <a:off x="456028" y="3984220"/>
            <a:ext cx="4038600" cy="2196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half" idx="4"/>
          </p:nvPr>
        </p:nvSpPr>
        <p:spPr>
          <a:xfrm>
            <a:off x="4647028" y="3984220"/>
            <a:ext cx="4038600" cy="2196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 lang="ko-KR" altLang="en-US"/>
            </a:pPr>
            <a:r>
              <a:rPr lang="ko-KR" altLang="en-US"/>
              <a:t>마스터 텍스트 스타일을 편집합니다</a:t>
            </a:r>
          </a:p>
          <a:p>
            <a:pPr lvl="1">
              <a:defRPr lang="ko-KR" altLang="en-US"/>
            </a:pPr>
            <a:r>
              <a:rPr lang="ko-KR" altLang="en-US"/>
              <a:t>둘째 수준</a:t>
            </a:r>
          </a:p>
          <a:p>
            <a:pPr lvl="2">
              <a:defRPr lang="ko-KR" altLang="en-US"/>
            </a:pPr>
            <a:r>
              <a:rPr lang="ko-KR" altLang="en-US"/>
              <a:t>셋째 수준</a:t>
            </a:r>
          </a:p>
          <a:p>
            <a:pPr lvl="3">
              <a:defRPr lang="ko-KR" altLang="en-US"/>
            </a:pPr>
            <a:r>
              <a:rPr lang="ko-KR" altLang="en-US"/>
              <a:t>넷째 수준</a:t>
            </a:r>
          </a:p>
          <a:p>
            <a:pPr lvl="4">
              <a:defRPr lang="ko-KR" altLang="en-US"/>
            </a:pPr>
            <a:r>
              <a:rPr lang="ko-KR" altLang="en-US"/>
              <a:t>다섯째 수준</a:t>
            </a:r>
          </a:p>
        </p:txBody>
      </p:sp>
      <p:sp>
        <p:nvSpPr>
          <p:cNvPr id="10" name="날짜 개체 틀 3"/>
          <p:cNvSpPr>
            <a:spLocks noGrp="1"/>
          </p:cNvSpPr>
          <p:nvPr>
            <p:ph type="dt" sz="half" idx="10"/>
          </p:nvPr>
        </p:nvSpPr>
        <p:spPr>
          <a:xfrm>
            <a:off x="609560" y="6356300"/>
            <a:ext cx="2844614" cy="365122"/>
          </a:xfrm>
          <a:prstGeom prst="rect">
            <a:avLst/>
          </a:prstGeom>
        </p:spPr>
        <p:txBody>
          <a:bodyPr/>
          <a:lstStyle/>
          <a:p>
            <a:pPr lvl="0">
              <a:defRPr lang="ko-KR" altLang="en-US"/>
            </a:pPr>
            <a:fld id="{D8D7A7C4-C82A-4D21-9AB0-F0C5A1D3EF09}" type="datetime1">
              <a:rPr lang="ko-KR" altLang="en-US"/>
              <a:pPr lvl="0">
                <a:defRPr lang="ko-KR" altLang="en-US"/>
              </a:pPr>
              <a:t>2021-06-03</a:t>
            </a:fld>
            <a:endParaRPr lang="ko-KR" altLang="en-US"/>
          </a:p>
        </p:txBody>
      </p:sp>
      <p:sp>
        <p:nvSpPr>
          <p:cNvPr id="11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 lang="ko-KR" altLang="en-US"/>
            </a:pPr>
            <a:endParaRPr lang="ko-KR" altLang="en-US"/>
          </a:p>
        </p:txBody>
      </p:sp>
      <p:sp>
        <p:nvSpPr>
          <p:cNvPr id="12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 lang="ko-KR" altLang="en-US"/>
            </a:pPr>
            <a:fld id="{AD22CD3B-FDDF-4998-970C-76E6E0BEC65F}" type="slidenum">
              <a:rPr lang="ko-KR" altLang="en-US"/>
              <a:pPr lvl="0">
                <a:defRPr lang="ko-KR" altLang="en-US"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FB2503-A4EF-4229-A4C8-97CF2DD39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093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894F294-9A60-4AF6-9691-548ADA83C4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AFEEC5-C37F-4E11-B4F4-4B698C51F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47" y="320676"/>
            <a:ext cx="11174506" cy="8694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3E3DA-9E1F-41A0-A424-235F82240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747" y="1364343"/>
            <a:ext cx="11174506" cy="48126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3C909-3DF3-4E26-BE80-E0F1A8A1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FEEE5E-8D69-48B6-9D3E-4029F75EF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F08DC3-CA20-4526-A5EA-9F0C0A455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484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4ABB9-8870-4734-B67F-B82AAA31F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525834-12F3-4A1C-A95D-6742BD108C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2845D0-7188-4E77-A866-079331B937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30078-EE8F-4F1B-ACB8-71EEAF581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A3F6D4-BA22-4B87-97D8-E4AB0ED14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45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BA7E7-FFA9-41C8-AEAF-E461C1FC7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F44D3-CF2D-41FB-B093-6C730E91AB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280537-A018-4065-84DC-2CDEC788BD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BDF944-27FA-407A-A21B-B41F951420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A1F4AF-2B88-418A-98C6-C4987C6A5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0FACA4-669E-41ED-B6E8-0C97E8D19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943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23E00-5201-4ED0-A85D-158D25BD7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7933AE-F51C-44D0-BEFF-D3B81A8A2E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3722AF-CD95-4E59-8E00-79B99A75EF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B149A2-5105-4B70-ADB8-588BE97CDA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45D4F7-8975-4F3E-AB17-DE4C6A995F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AC817B-F0CD-45B8-A1DE-555AA58811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8A04A4-550E-4A1A-9637-8911DD468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6EAE2E-A58A-4638-AF31-AC1A703EC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59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9D9DB-F058-4EE9-B929-12D9ED94D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5E1D3D-D07C-4443-B8B6-CF31758A84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4B9DEE-1F64-408E-9E88-6E1920D61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BC312A-15AF-4E8B-8D5D-8DB848E11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713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7582A5-E81B-43D3-A5A0-FC760CCD24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6917A5-E8BE-49AF-B588-E7508B8E5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8F615E-5DA2-49FA-93D5-6CFAD8B28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996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A31ED-B054-4A13-AF03-76CB3BE35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609E5A-EA09-4414-9CDD-63BF9E6BC3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6B559E-B3F0-433C-AF71-24C0EC9F4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B3E42-D8C0-4505-87B0-E8E14940F4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82F82A-9261-4D73-A000-7583BBB3B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560FE-77E8-4F25-903A-354889DF6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576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01A2F-5377-433F-80A9-BD5E6C4B3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74D81A-4FD7-494D-BAC0-D3AB876F75D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8F56C-AEEB-46BE-8402-BA1E6B372E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D0C477-9BFA-4B7E-828E-9F945C9A44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6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69BAE8-D2B2-4D61-8842-FD68F1CC5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E19978-3047-485A-A411-5FFEDD4DC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001070"/>
      </p:ext>
    </p:extLst>
  </p:cSld>
  <p:clrMapOvr>
    <a:masterClrMapping/>
  </p:clrMapOvr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slideLayout" Target="../slideLayouts/slideLayout12.xml"  /><Relationship Id="rId13" Type="http://schemas.openxmlformats.org/officeDocument/2006/relationships/theme" Target="../theme/theme1.xml"  /><Relationship Id="rId14" Type="http://schemas.openxmlformats.org/officeDocument/2006/relationships/oleObject" Target="../embeddings/oleObject2.bin"  /><Relationship Id="rId2" Type="http://schemas.openxmlformats.org/officeDocument/2006/relationships/slideLayout" Target="../slideLayouts/slideLayout2.xml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Office Them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Select="1"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AutoShap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>
            <a:spLocks noSelect="1"/>
          </p:cNvSpPr>
          <p:nvPr userDrawn="1"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0">
            <a:noAutofit/>
          </a:bodyPr>
          <a:lstStyle/>
          <a:p>
            <a:pPr marL="0" lvl="0" indent="0" algn="ctr">
              <a:defRPr lang="ko-KR" altLang="en-US"/>
            </a:pPr>
            <a:endParaRPr lang="en-US" sz="4400" b="1" i="0">
              <a:latin typeface="Segoe UI"/>
              <a:ea typeface="+mj-ea"/>
              <a:cs typeface="Segoe UI"/>
              <a:sym typeface="Segoe U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747" y="320675"/>
            <a:ext cx="11174506" cy="1325563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pPr lvl="0">
              <a:defRPr lang="ko-KR" altLang="en-US"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747" y="1825625"/>
            <a:ext cx="11174506" cy="4351338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/>
          <a:p>
            <a:pPr lvl="0">
              <a:defRPr lang="ko-KR" altLang="en-US"/>
            </a:pPr>
            <a:r>
              <a:rPr lang="en-US"/>
              <a:t>Click to edit Master text styles</a:t>
            </a:r>
          </a:p>
          <a:p>
            <a:pPr lvl="1">
              <a:defRPr lang="ko-KR" altLang="en-US"/>
            </a:pPr>
            <a:r>
              <a:rPr lang="en-US"/>
              <a:t>Second level</a:t>
            </a:r>
          </a:p>
          <a:p>
            <a:pPr lvl="2">
              <a:defRPr lang="ko-KR" altLang="en-US"/>
            </a:pPr>
            <a:r>
              <a:rPr lang="en-US"/>
              <a:t>Third level</a:t>
            </a:r>
          </a:p>
          <a:p>
            <a:pPr lvl="3">
              <a:defRPr lang="ko-KR" altLang="en-US"/>
            </a:pPr>
            <a:r>
              <a:rPr lang="en-US"/>
              <a:t>Fourth level</a:t>
            </a:r>
          </a:p>
          <a:p>
            <a:pPr lvl="4">
              <a:defRPr lang="ko-KR" altLang="en-US"/>
            </a:pPr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algn="l">
              <a:defRPr sz="12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 lang="ko-KR" altLang="en-US"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 lang="ko-KR" altLang="en-US"/>
            </a:pPr>
            <a:fld id="{CF0DAFF9-36BF-4031-B321-A0DFAE31E368}" type="slidenum">
              <a:rPr lang="en-US"/>
              <a:pPr lvl="0">
                <a:defRPr lang="ko-KR" altLang="en-US"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Segoe UI"/>
          <a:ea typeface="+mn-ea"/>
          <a:cs typeface="Segoe UI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Segoe UI"/>
          <a:ea typeface="+mn-ea"/>
          <a:cs typeface="Segoe UI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Segoe UI"/>
          <a:ea typeface="+mn-ea"/>
          <a:cs typeface="Segoe UI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Segoe UI"/>
          <a:ea typeface="+mn-ea"/>
          <a:cs typeface="Segoe UI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Segoe UI"/>
          <a:ea typeface="+mn-ea"/>
          <a:cs typeface="Segoe UI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2" Type="http://schemas.openxmlformats.org/officeDocument/2006/relationships/image" Target="../media/image2.png"  /></Relationships>
</file>

<file path=ppt/slides/_rels/slide1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1.png"  /><Relationship Id="rId3" Type="http://schemas.openxmlformats.org/officeDocument/2006/relationships/image" Target="../media/image22.png"  /><Relationship Id="rId4" Type="http://schemas.openxmlformats.org/officeDocument/2006/relationships/image" Target="../media/image23.png"  /></Relationships>
</file>

<file path=ppt/slides/_rels/slide1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4.png"  /><Relationship Id="rId3" Type="http://schemas.openxmlformats.org/officeDocument/2006/relationships/image" Target="../media/image25.png"  /><Relationship Id="rId4" Type="http://schemas.openxmlformats.org/officeDocument/2006/relationships/image" Target="../media/image26.png"  /></Relationships>
</file>

<file path=ppt/slides/_rels/slide1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1.png"  /><Relationship Id="rId3" Type="http://schemas.openxmlformats.org/officeDocument/2006/relationships/image" Target="../media/image27.png"  /><Relationship Id="rId4" Type="http://schemas.openxmlformats.org/officeDocument/2006/relationships/image" Target="../media/image28.png"  /></Relationships>
</file>

<file path=ppt/slides/_rels/slide1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9.png"  /><Relationship Id="rId3" Type="http://schemas.openxmlformats.org/officeDocument/2006/relationships/image" Target="../media/image30.png"  /><Relationship Id="rId4" Type="http://schemas.openxmlformats.org/officeDocument/2006/relationships/image" Target="../media/image31.png"  /></Relationships>
</file>

<file path=ppt/slides/_rels/slide1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image" Target="../media/image32.png"  /><Relationship Id="rId3" Type="http://schemas.openxmlformats.org/officeDocument/2006/relationships/image" Target="../media/image33.png"  /><Relationship Id="rId4" Type="http://schemas.openxmlformats.org/officeDocument/2006/relationships/image" Target="../media/image34.png"  /><Relationship Id="rId5" Type="http://schemas.openxmlformats.org/officeDocument/2006/relationships/image" Target="../media/image35.jpeg"  /></Relationships>
</file>

<file path=ppt/slides/_rels/slide1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/Relationships>
</file>

<file path=ppt/slides/_rels/slide1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3.png"  /><Relationship Id="rId3" Type="http://schemas.openxmlformats.org/officeDocument/2006/relationships/image" Target="../media/image4.jpeg"  /><Relationship Id="rId4" Type="http://schemas.openxmlformats.org/officeDocument/2006/relationships/image" Target="../media/image5.pn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6.png"  /><Relationship Id="rId3" Type="http://schemas.openxmlformats.org/officeDocument/2006/relationships/image" Target="../media/image5.pn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7.png"  /><Relationship Id="rId3" Type="http://schemas.openxmlformats.org/officeDocument/2006/relationships/image" Target="../media/image8.png"  /><Relationship Id="rId4" Type="http://schemas.openxmlformats.org/officeDocument/2006/relationships/image" Target="../media/image5.png" 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9.png"  /><Relationship Id="rId3" Type="http://schemas.openxmlformats.org/officeDocument/2006/relationships/image" Target="../media/image10.png"  /><Relationship Id="rId4" Type="http://schemas.openxmlformats.org/officeDocument/2006/relationships/image" Target="../media/image11.jpeg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2.xml"  /><Relationship Id="rId2" Type="http://schemas.openxmlformats.org/officeDocument/2006/relationships/image" Target="../media/image12.jpeg"  /><Relationship Id="rId3" Type="http://schemas.openxmlformats.org/officeDocument/2006/relationships/image" Target="../media/image13.png"  /></Relationships>
</file>

<file path=ppt/slides/_rels/slide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14.png"  /><Relationship Id="rId3" Type="http://schemas.openxmlformats.org/officeDocument/2006/relationships/image" Target="../media/image15.jpeg"  /><Relationship Id="rId4" Type="http://schemas.openxmlformats.org/officeDocument/2006/relationships/image" Target="../media/image5.png"  /></Relationships>
</file>

<file path=ppt/slides/_rels/slide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16.png"  /><Relationship Id="rId3" Type="http://schemas.openxmlformats.org/officeDocument/2006/relationships/image" Target="../media/image17.png"  /><Relationship Id="rId4" Type="http://schemas.openxmlformats.org/officeDocument/2006/relationships/image" Target="../media/image18.png"  /><Relationship Id="rId5" Type="http://schemas.openxmlformats.org/officeDocument/2006/relationships/image" Target="../media/image19.png"  /><Relationship Id="rId6" Type="http://schemas.openxmlformats.org/officeDocument/2006/relationships/image" Target="../media/image20.png"  /></Relationships>
</file>

<file path=ppt/slides/slide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"/>
            <a:ext cx="12192000" cy="40195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19125" y="1701800"/>
            <a:ext cx="10953750" cy="3946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idx="0"/>
          </p:nvPr>
        </p:nvSpPr>
        <p:spPr>
          <a:xfrm>
            <a:off x="1019886" y="1847472"/>
            <a:ext cx="9083881" cy="2101480"/>
          </a:xfrm>
        </p:spPr>
        <p:txBody>
          <a:bodyPr>
            <a:noAutofit/>
          </a:bodyPr>
          <a:lstStyle/>
          <a:p>
            <a:pPr algn="l">
              <a:defRPr lang="ko-KR" altLang="en-US"/>
            </a:pPr>
            <a:r>
              <a:rPr lang="ko-KR" altLang="en-US" sz="3400"/>
              <a:t>반려인의 편의</a:t>
            </a:r>
            <a:r>
              <a:rPr lang="ko-KR" altLang="en-US" sz="3100"/>
              <a:t>를 위한</a:t>
            </a:r>
            <a:r>
              <a:rPr lang="ko-KR" altLang="en-US" sz="3400"/>
              <a:t> 사물 인터넷</a:t>
            </a:r>
            <a:r>
              <a:rPr lang="ko-KR" altLang="en-US" sz="3100"/>
              <a:t> 기반</a:t>
            </a:r>
            <a:endParaRPr lang="ko-KR" altLang="en-US" sz="3100"/>
          </a:p>
          <a:p>
            <a:pPr algn="l">
              <a:defRPr lang="ko-KR" altLang="en-US"/>
            </a:pPr>
            <a:endParaRPr lang="ko-KR" altLang="en-US" sz="1300"/>
          </a:p>
          <a:p>
            <a:pPr algn="l">
              <a:defRPr lang="ko-KR" altLang="en-US"/>
            </a:pPr>
            <a:r>
              <a:rPr lang="ko-KR" altLang="en-US" sz="3400"/>
              <a:t>				</a:t>
            </a:r>
            <a:r>
              <a:rPr lang="ko-KR" altLang="en-US" sz="4300"/>
              <a:t>반려동물 케어 시스템</a:t>
            </a:r>
            <a:endParaRPr lang="ko-KR" altLang="en-US" sz="4300"/>
          </a:p>
        </p:txBody>
      </p:sp>
      <p:cxnSp>
        <p:nvCxnSpPr>
          <p:cNvPr id="9" name="Straight Connector 8"/>
          <p:cNvCxnSpPr/>
          <p:nvPr/>
        </p:nvCxnSpPr>
        <p:spPr>
          <a:xfrm>
            <a:off x="1012209" y="4012442"/>
            <a:ext cx="1016758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1143000" y="1621668"/>
            <a:ext cx="1218063" cy="159507"/>
          </a:xfrm>
          <a:prstGeom prst="rect">
            <a:avLst/>
          </a:prstGeom>
          <a:solidFill>
            <a:srgbClr val="1d9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10135684" y="4928739"/>
            <a:ext cx="1737323" cy="5748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en-US" altLang="ko-KR" sz="3200">
                <a:solidFill>
                  <a:srgbClr val="0c446c"/>
                </a:solidFill>
              </a:rPr>
              <a:t>ACM</a:t>
            </a:r>
            <a:endParaRPr lang="ko-KR" altLang="en-US" sz="3200">
              <a:solidFill>
                <a:srgbClr val="0c446c"/>
              </a:solidFill>
            </a:endParaRP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 rotWithShape="1">
          <a:blip r:embed="rId2"/>
          <a:srcRect l="32260" t="31810" r="29440" b="32250"/>
          <a:stretch>
            <a:fillRect/>
          </a:stretch>
        </p:blipFill>
        <p:spPr>
          <a:xfrm>
            <a:off x="10542711" y="1738678"/>
            <a:ext cx="981805" cy="920789"/>
          </a:xfrm>
          <a:prstGeom prst="ellipse">
            <a:avLst/>
          </a:prstGeom>
        </p:spPr>
      </p:pic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>
</file>

<file path=ppt/slides/slide10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009437" y="288779"/>
            <a:ext cx="36730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실시간 모니터링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Rectangle 22"/>
          <p:cNvSpPr/>
          <p:nvPr/>
        </p:nvSpPr>
        <p:spPr>
          <a:xfrm>
            <a:off x="0" y="5138494"/>
            <a:ext cx="12192000" cy="17195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pic>
        <p:nvPicPr>
          <p:cNvPr id="239" name="그림 39"/>
          <p:cNvPicPr>
            <a:picLocks noChangeAspect="1"/>
          </p:cNvPicPr>
          <p:nvPr/>
        </p:nvPicPr>
        <p:blipFill rotWithShape="1">
          <a:blip r:embed="rId2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  <p:sp>
        <p:nvSpPr>
          <p:cNvPr id="244" name=""/>
          <p:cNvSpPr/>
          <p:nvPr/>
        </p:nvSpPr>
        <p:spPr>
          <a:xfrm>
            <a:off x="480574" y="1386700"/>
            <a:ext cx="3175351" cy="511252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algn="ctr">
            <a:noFill/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lstStyle/>
          <a:p>
            <a:pPr algn="ctr">
              <a:defRPr lang="ko-KR" altLang="en-US"/>
            </a:pPr>
            <a:endParaRPr lang="ko-KR" altLang="en-US"/>
          </a:p>
        </p:txBody>
      </p:sp>
      <p:pic>
        <p:nvPicPr>
          <p:cNvPr id="240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519671" y="1412874"/>
            <a:ext cx="3114601" cy="5048250"/>
          </a:xfrm>
          <a:prstGeom prst="rect">
            <a:avLst/>
          </a:prstGeom>
        </p:spPr>
      </p:pic>
      <p:cxnSp>
        <p:nvCxnSpPr>
          <p:cNvPr id="241" name=""/>
          <p:cNvCxnSpPr/>
          <p:nvPr/>
        </p:nvCxnSpPr>
        <p:spPr>
          <a:xfrm>
            <a:off x="3706800" y="4143600"/>
            <a:ext cx="1080000" cy="0"/>
          </a:xfrm>
          <a:prstGeom prst="straightConnector1">
            <a:avLst/>
          </a:prstGeom>
          <a:ln w="50800" algn="ctr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"/>
          <p:cNvSpPr/>
          <p:nvPr/>
        </p:nvSpPr>
        <p:spPr>
          <a:xfrm>
            <a:off x="4811274" y="1459724"/>
            <a:ext cx="3191225" cy="51284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algn="ctr">
            <a:noFill/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lstStyle/>
          <a:p>
            <a:pPr algn="ctr">
              <a:defRPr lang="ko-KR" altLang="en-US"/>
            </a:pPr>
            <a:endParaRPr lang="ko-KR" altLang="en-US"/>
          </a:p>
        </p:txBody>
      </p:sp>
      <p:pic>
        <p:nvPicPr>
          <p:cNvPr id="243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4846697" y="1498600"/>
            <a:ext cx="3111066" cy="5064124"/>
          </a:xfrm>
          <a:prstGeom prst="rect">
            <a:avLst/>
          </a:prstGeom>
        </p:spPr>
      </p:pic>
      <p:sp>
        <p:nvSpPr>
          <p:cNvPr id="246" name="TextBox 18"/>
          <p:cNvSpPr txBox="1"/>
          <p:nvPr/>
        </p:nvSpPr>
        <p:spPr>
          <a:xfrm>
            <a:off x="8291362" y="1978771"/>
            <a:ext cx="3621174" cy="1067324"/>
          </a:xfrm>
          <a:prstGeom prst="rect">
            <a:avLst/>
          </a:prstGeom>
          <a:noFill/>
        </p:spPr>
        <p:txBody>
          <a:bodyPr vert="horz" wrap="square" lIns="91440" tIns="45720" rIns="91440" bIns="45720" anchor="t">
            <a:spAutoFit/>
          </a:bodyPr>
          <a:lstStyle/>
          <a:p>
            <a:pPr algn="just">
              <a:defRPr lang="ko-KR" altLang="en-US"/>
            </a:pPr>
            <a:r>
              <a:rPr lang="ko-KR" altLang="en-US" sz="3200" b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76200" dist="76200" dir="2700000" algn="ctr" rotWithShape="0">
                    <a:srgbClr val="000000">
                      <a:alpha val="50000"/>
                    </a:srgbClr>
                  </a:outerShdw>
                </a:effectLst>
                <a:latin typeface="Arial"/>
                <a:cs typeface="Arial"/>
              </a:rPr>
              <a:t>모니터링의 </a:t>
            </a:r>
            <a:endParaRPr lang="ko-KR" altLang="en-US" sz="3200" b="1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76200" dist="76200" dir="2700000" algn="ctr" rotWithShape="0">
                  <a:srgbClr val="000000">
                    <a:alpha val="50000"/>
                  </a:srgbClr>
                </a:outerShdw>
              </a:effectLst>
              <a:latin typeface="Arial"/>
              <a:cs typeface="Arial"/>
            </a:endParaRPr>
          </a:p>
          <a:p>
            <a:pPr algn="just">
              <a:defRPr lang="ko-KR" altLang="en-US"/>
            </a:pPr>
            <a:r>
              <a:rPr lang="ko-KR" altLang="en-US" sz="3200" b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76200" dist="76200" dir="2700000" algn="ctr" rotWithShape="0">
                    <a:srgbClr val="000000">
                      <a:alpha val="50000"/>
                    </a:srgbClr>
                  </a:outerShdw>
                </a:effectLst>
                <a:latin typeface="Arial"/>
                <a:cs typeface="Arial"/>
              </a:rPr>
              <a:t>            2가지 장점</a:t>
            </a:r>
            <a:endParaRPr lang="ko-KR" altLang="en-US" sz="3200" b="1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76200" dist="76200" dir="2700000" algn="ctr" rotWithShape="0">
                  <a:srgbClr val="000000">
                    <a:alpha val="50000"/>
                  </a:srgbClr>
                </a:outerShdw>
              </a:effectLst>
              <a:latin typeface="Arial"/>
              <a:cs typeface="Arial"/>
            </a:endParaRPr>
          </a:p>
        </p:txBody>
      </p:sp>
      <p:sp>
        <p:nvSpPr>
          <p:cNvPr id="247" name="TextBox 18"/>
          <p:cNvSpPr txBox="1"/>
          <p:nvPr/>
        </p:nvSpPr>
        <p:spPr>
          <a:xfrm>
            <a:off x="8437414" y="3429000"/>
            <a:ext cx="3414800" cy="11858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lang="ko-KR" altLang="en-US"/>
            </a:pPr>
            <a:r>
              <a:rPr lang="ko-KR" alt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①</a:t>
            </a:r>
            <a:r>
              <a:rPr lang="ko-KR" altLang="en-US" sz="29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반려동물 상태 확인</a:t>
            </a:r>
            <a:endParaRPr lang="ko-KR" altLang="en-US" sz="24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just">
              <a:defRPr lang="ko-KR" altLang="en-US"/>
            </a:pPr>
            <a:endParaRPr lang="ko-KR" altLang="en-US" sz="15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just">
              <a:defRPr lang="ko-KR" altLang="en-US"/>
            </a:pPr>
            <a:r>
              <a:rPr lang="ko-KR" alt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②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사료 &amp; 물 여부 확인</a:t>
            </a:r>
            <a:endParaRPr lang="ko-KR" altLang="en-US" sz="24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6" grpId="0" bldLvl="0" animBg="1" autoUpdateAnimBg="1"/>
      <p:bldP spid="247" grpId="1" bldLvl="0" animBg="1" autoUpdateAnimBg="1"/>
    </p:bldLst>
  </p:timing>
</p:sld>
</file>

<file path=ppt/slides/slide1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009437" y="288779"/>
            <a:ext cx="36730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난방 시스템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Rectangle 22"/>
          <p:cNvSpPr/>
          <p:nvPr/>
        </p:nvSpPr>
        <p:spPr>
          <a:xfrm>
            <a:off x="0" y="5138494"/>
            <a:ext cx="12192000" cy="17195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pic>
        <p:nvPicPr>
          <p:cNvPr id="240" name="그림 39"/>
          <p:cNvPicPr>
            <a:picLocks noChangeAspect="1"/>
          </p:cNvPicPr>
          <p:nvPr/>
        </p:nvPicPr>
        <p:blipFill rotWithShape="1">
          <a:blip r:embed="rId2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  <p:pic>
        <p:nvPicPr>
          <p:cNvPr id="249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657223" y="1354136"/>
            <a:ext cx="6826249" cy="5119687"/>
          </a:xfrm>
          <a:prstGeom prst="rect">
            <a:avLst/>
          </a:prstGeom>
        </p:spPr>
      </p:pic>
      <p:pic>
        <p:nvPicPr>
          <p:cNvPr id="252" name=""/>
          <p:cNvPicPr>
            <a:picLocks noChangeAspect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7998965" y="4475428"/>
            <a:ext cx="3655321" cy="1493913"/>
          </a:xfrm>
          <a:prstGeom prst="rect">
            <a:avLst/>
          </a:prstGeom>
        </p:spPr>
      </p:pic>
      <p:sp>
        <p:nvSpPr>
          <p:cNvPr id="253" name="TextBox 18"/>
          <p:cNvSpPr txBox="1"/>
          <p:nvPr/>
        </p:nvSpPr>
        <p:spPr>
          <a:xfrm>
            <a:off x="8799359" y="1423145"/>
            <a:ext cx="2144800" cy="575200"/>
          </a:xfrm>
          <a:prstGeom prst="rect">
            <a:avLst/>
          </a:prstGeom>
          <a:noFill/>
        </p:spPr>
        <p:txBody>
          <a:bodyPr vert="horz" wrap="square" lIns="91440" tIns="45720" rIns="91440" bIns="45720" anchor="t">
            <a:spAutoFit/>
          </a:bodyPr>
          <a:lstStyle/>
          <a:p>
            <a:pPr algn="just">
              <a:defRPr lang="ko-KR" altLang="en-US"/>
            </a:pPr>
            <a:r>
              <a:rPr lang="ko-KR" altLang="en-US" sz="3200" b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76200" dist="76200" dir="2700000" algn="ctr" rotWithShape="0">
                    <a:srgbClr val="000000">
                      <a:alpha val="50000"/>
                    </a:srgbClr>
                  </a:outerShdw>
                </a:effectLst>
                <a:latin typeface="Arial"/>
                <a:cs typeface="Arial"/>
              </a:rPr>
              <a:t>동작 과정</a:t>
            </a:r>
            <a:endParaRPr lang="ko-KR" altLang="en-US" sz="3200" b="1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76200" dist="76200" dir="2700000" algn="ctr" rotWithShape="0">
                  <a:srgbClr val="000000">
                    <a:alpha val="50000"/>
                  </a:srgbClr>
                </a:outerShdw>
              </a:effectLst>
              <a:latin typeface="Arial"/>
              <a:cs typeface="Arial"/>
            </a:endParaRPr>
          </a:p>
        </p:txBody>
      </p:sp>
      <p:sp>
        <p:nvSpPr>
          <p:cNvPr id="254" name="TextBox 18"/>
          <p:cNvSpPr txBox="1"/>
          <p:nvPr/>
        </p:nvSpPr>
        <p:spPr>
          <a:xfrm>
            <a:off x="8088163" y="2246630"/>
            <a:ext cx="3621176" cy="11823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lang="ko-KR" altLang="en-US"/>
            </a:pPr>
            <a:r>
              <a:rPr lang="ko-KR" alt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①</a:t>
            </a:r>
            <a:r>
              <a:rPr lang="ko-KR" altLang="en-US" sz="29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2</a:t>
            </a:r>
            <a:r>
              <a:rPr lang="en-US" altLang="ko-KR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0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도 이하 = 열선 </a:t>
            </a:r>
            <a:r>
              <a:rPr lang="en-US" altLang="ko-KR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ON</a:t>
            </a:r>
            <a:endParaRPr lang="en-US" altLang="ko-KR" sz="24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just">
              <a:defRPr lang="ko-KR" altLang="en-US"/>
            </a:pPr>
            <a:endParaRPr lang="ko-KR" altLang="en-US" sz="15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just">
              <a:defRPr lang="ko-KR" altLang="en-US"/>
            </a:pPr>
            <a:r>
              <a:rPr lang="ko-KR" alt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②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</a:t>
            </a:r>
            <a:r>
              <a:rPr lang="en-US" altLang="ko-KR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25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도 이상 = 열선 </a:t>
            </a:r>
            <a:r>
              <a:rPr lang="en-US" altLang="ko-KR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OFF</a:t>
            </a:r>
            <a:endParaRPr lang="en-US" altLang="ko-KR" sz="24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55" name=""/>
          <p:cNvSpPr/>
          <p:nvPr/>
        </p:nvSpPr>
        <p:spPr>
          <a:xfrm>
            <a:off x="5382350" y="2239550"/>
            <a:ext cx="665300" cy="665300"/>
          </a:xfrm>
          <a:prstGeom prst="ellipse">
            <a:avLst/>
          </a:prstGeom>
          <a:noFill/>
          <a:ln w="63500" algn="ctr">
            <a:solidFill>
              <a:srgbClr val="ff6600"/>
            </a:solidFill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p>
            <a:pPr algn="ctr">
              <a:defRPr lang="ko-KR" altLang="en-US"/>
            </a:pPr>
            <a:endParaRPr lang="en-US" altLang="ko-KR"/>
          </a:p>
        </p:txBody>
      </p:sp>
      <p:sp>
        <p:nvSpPr>
          <p:cNvPr id="266" name=""/>
          <p:cNvSpPr/>
          <p:nvPr/>
        </p:nvSpPr>
        <p:spPr>
          <a:xfrm>
            <a:off x="1412676" y="3508771"/>
            <a:ext cx="6050161" cy="3001566"/>
          </a:xfrm>
          <a:custGeom>
            <a:avLst/>
            <a:gdLst>
              <a:gd name="connsiteX0" fmla="*/ 778073 w 6050161"/>
              <a:gd name="connsiteY0" fmla="*/ 364727 h 3001566"/>
              <a:gd name="connsiteX1" fmla="*/ 778073 w 6050161"/>
              <a:gd name="connsiteY1" fmla="*/ 475853 h 3001566"/>
              <a:gd name="connsiteX2" fmla="*/ 762197 w 6050161"/>
              <a:gd name="connsiteY2" fmla="*/ 491727 h 3001566"/>
              <a:gd name="connsiteX3" fmla="*/ 762197 w 6050161"/>
              <a:gd name="connsiteY3" fmla="*/ 539352 h 3001566"/>
              <a:gd name="connsiteX4" fmla="*/ 746322 w 6050161"/>
              <a:gd name="connsiteY4" fmla="*/ 555228 h 3001566"/>
              <a:gd name="connsiteX5" fmla="*/ 730448 w 6050161"/>
              <a:gd name="connsiteY5" fmla="*/ 602853 h 3001566"/>
              <a:gd name="connsiteX6" fmla="*/ 730448 w 6050161"/>
              <a:gd name="connsiteY6" fmla="*/ 650477 h 3001566"/>
              <a:gd name="connsiteX7" fmla="*/ 714572 w 6050161"/>
              <a:gd name="connsiteY7" fmla="*/ 666353 h 3001566"/>
              <a:gd name="connsiteX8" fmla="*/ 714572 w 6050161"/>
              <a:gd name="connsiteY8" fmla="*/ 682227 h 3001566"/>
              <a:gd name="connsiteX9" fmla="*/ 682822 w 6050161"/>
              <a:gd name="connsiteY9" fmla="*/ 698102 h 3001566"/>
              <a:gd name="connsiteX10" fmla="*/ 666947 w 6050161"/>
              <a:gd name="connsiteY10" fmla="*/ 729852 h 3001566"/>
              <a:gd name="connsiteX11" fmla="*/ 651072 w 6050161"/>
              <a:gd name="connsiteY11" fmla="*/ 761602 h 3001566"/>
              <a:gd name="connsiteX12" fmla="*/ 651072 w 6050161"/>
              <a:gd name="connsiteY12" fmla="*/ 793352 h 3001566"/>
              <a:gd name="connsiteX13" fmla="*/ 635198 w 6050161"/>
              <a:gd name="connsiteY13" fmla="*/ 809227 h 3001566"/>
              <a:gd name="connsiteX14" fmla="*/ 619322 w 6050161"/>
              <a:gd name="connsiteY14" fmla="*/ 825102 h 3001566"/>
              <a:gd name="connsiteX15" fmla="*/ 619322 w 6050161"/>
              <a:gd name="connsiteY15" fmla="*/ 856852 h 3001566"/>
              <a:gd name="connsiteX16" fmla="*/ 603447 w 6050161"/>
              <a:gd name="connsiteY16" fmla="*/ 872727 h 3001566"/>
              <a:gd name="connsiteX17" fmla="*/ 603447 w 6050161"/>
              <a:gd name="connsiteY17" fmla="*/ 888602 h 3001566"/>
              <a:gd name="connsiteX18" fmla="*/ 587573 w 6050161"/>
              <a:gd name="connsiteY18" fmla="*/ 904477 h 3001566"/>
              <a:gd name="connsiteX19" fmla="*/ 587573 w 6050161"/>
              <a:gd name="connsiteY19" fmla="*/ 920352 h 3001566"/>
              <a:gd name="connsiteX20" fmla="*/ 571697 w 6050161"/>
              <a:gd name="connsiteY20" fmla="*/ 936227 h 3001566"/>
              <a:gd name="connsiteX21" fmla="*/ 555823 w 6050161"/>
              <a:gd name="connsiteY21" fmla="*/ 952102 h 3001566"/>
              <a:gd name="connsiteX22" fmla="*/ 539947 w 6050161"/>
              <a:gd name="connsiteY22" fmla="*/ 983852 h 3001566"/>
              <a:gd name="connsiteX23" fmla="*/ 539947 w 6050161"/>
              <a:gd name="connsiteY23" fmla="*/ 983852 h 3001566"/>
              <a:gd name="connsiteX24" fmla="*/ 524072 w 6050161"/>
              <a:gd name="connsiteY24" fmla="*/ 999727 h 3001566"/>
              <a:gd name="connsiteX25" fmla="*/ 508197 w 6050161"/>
              <a:gd name="connsiteY25" fmla="*/ 1015602 h 3001566"/>
              <a:gd name="connsiteX26" fmla="*/ 492322 w 6050161"/>
              <a:gd name="connsiteY26" fmla="*/ 1031477 h 3001566"/>
              <a:gd name="connsiteX27" fmla="*/ 476447 w 6050161"/>
              <a:gd name="connsiteY27" fmla="*/ 1047352 h 3001566"/>
              <a:gd name="connsiteX28" fmla="*/ 476447 w 6050161"/>
              <a:gd name="connsiteY28" fmla="*/ 1063227 h 3001566"/>
              <a:gd name="connsiteX29" fmla="*/ 460572 w 6050161"/>
              <a:gd name="connsiteY29" fmla="*/ 1079102 h 3001566"/>
              <a:gd name="connsiteX30" fmla="*/ 444698 w 6050161"/>
              <a:gd name="connsiteY30" fmla="*/ 1079102 h 3001566"/>
              <a:gd name="connsiteX31" fmla="*/ 428822 w 6050161"/>
              <a:gd name="connsiteY31" fmla="*/ 1094977 h 3001566"/>
              <a:gd name="connsiteX32" fmla="*/ 397073 w 6050161"/>
              <a:gd name="connsiteY32" fmla="*/ 1110852 h 3001566"/>
              <a:gd name="connsiteX33" fmla="*/ 397073 w 6050161"/>
              <a:gd name="connsiteY33" fmla="*/ 1110852 h 3001566"/>
              <a:gd name="connsiteX34" fmla="*/ 381197 w 6050161"/>
              <a:gd name="connsiteY34" fmla="*/ 1126727 h 3001566"/>
              <a:gd name="connsiteX35" fmla="*/ 365322 w 6050161"/>
              <a:gd name="connsiteY35" fmla="*/ 1142602 h 3001566"/>
              <a:gd name="connsiteX36" fmla="*/ 365322 w 6050161"/>
              <a:gd name="connsiteY36" fmla="*/ 1142602 h 3001566"/>
              <a:gd name="connsiteX37" fmla="*/ 349448 w 6050161"/>
              <a:gd name="connsiteY37" fmla="*/ 1158477 h 3001566"/>
              <a:gd name="connsiteX38" fmla="*/ 333572 w 6050161"/>
              <a:gd name="connsiteY38" fmla="*/ 1174352 h 3001566"/>
              <a:gd name="connsiteX39" fmla="*/ 317697 w 6050161"/>
              <a:gd name="connsiteY39" fmla="*/ 1221977 h 3001566"/>
              <a:gd name="connsiteX40" fmla="*/ 317697 w 6050161"/>
              <a:gd name="connsiteY40" fmla="*/ 1269602 h 3001566"/>
              <a:gd name="connsiteX41" fmla="*/ 301823 w 6050161"/>
              <a:gd name="connsiteY41" fmla="*/ 1285477 h 3001566"/>
              <a:gd name="connsiteX42" fmla="*/ 285947 w 6050161"/>
              <a:gd name="connsiteY42" fmla="*/ 1301352 h 3001566"/>
              <a:gd name="connsiteX43" fmla="*/ 285947 w 6050161"/>
              <a:gd name="connsiteY43" fmla="*/ 1317227 h 3001566"/>
              <a:gd name="connsiteX44" fmla="*/ 270072 w 6050161"/>
              <a:gd name="connsiteY44" fmla="*/ 1333102 h 3001566"/>
              <a:gd name="connsiteX45" fmla="*/ 270072 w 6050161"/>
              <a:gd name="connsiteY45" fmla="*/ 1348977 h 3001566"/>
              <a:gd name="connsiteX46" fmla="*/ 254198 w 6050161"/>
              <a:gd name="connsiteY46" fmla="*/ 1364852 h 3001566"/>
              <a:gd name="connsiteX47" fmla="*/ 238322 w 6050161"/>
              <a:gd name="connsiteY47" fmla="*/ 1380727 h 3001566"/>
              <a:gd name="connsiteX48" fmla="*/ 222447 w 6050161"/>
              <a:gd name="connsiteY48" fmla="*/ 1380727 h 3001566"/>
              <a:gd name="connsiteX49" fmla="*/ 206573 w 6050161"/>
              <a:gd name="connsiteY49" fmla="*/ 1396602 h 3001566"/>
              <a:gd name="connsiteX50" fmla="*/ 174822 w 6050161"/>
              <a:gd name="connsiteY50" fmla="*/ 1412477 h 3001566"/>
              <a:gd name="connsiteX51" fmla="*/ 174822 w 6050161"/>
              <a:gd name="connsiteY51" fmla="*/ 1412477 h 3001566"/>
              <a:gd name="connsiteX52" fmla="*/ 158948 w 6050161"/>
              <a:gd name="connsiteY52" fmla="*/ 1428352 h 3001566"/>
              <a:gd name="connsiteX53" fmla="*/ 127197 w 6050161"/>
              <a:gd name="connsiteY53" fmla="*/ 1444227 h 3001566"/>
              <a:gd name="connsiteX54" fmla="*/ 127197 w 6050161"/>
              <a:gd name="connsiteY54" fmla="*/ 1444227 h 3001566"/>
              <a:gd name="connsiteX55" fmla="*/ 111323 w 6050161"/>
              <a:gd name="connsiteY55" fmla="*/ 1460102 h 3001566"/>
              <a:gd name="connsiteX56" fmla="*/ 95447 w 6050161"/>
              <a:gd name="connsiteY56" fmla="*/ 1475977 h 3001566"/>
              <a:gd name="connsiteX57" fmla="*/ 63697 w 6050161"/>
              <a:gd name="connsiteY57" fmla="*/ 1491852 h 3001566"/>
              <a:gd name="connsiteX58" fmla="*/ 47822 w 6050161"/>
              <a:gd name="connsiteY58" fmla="*/ 1507727 h 3001566"/>
              <a:gd name="connsiteX59" fmla="*/ 31947 w 6050161"/>
              <a:gd name="connsiteY59" fmla="*/ 1523602 h 3001566"/>
              <a:gd name="connsiteX60" fmla="*/ 31947 w 6050161"/>
              <a:gd name="connsiteY60" fmla="*/ 1571227 h 3001566"/>
              <a:gd name="connsiteX61" fmla="*/ 16073 w 6050161"/>
              <a:gd name="connsiteY61" fmla="*/ 1587102 h 3001566"/>
              <a:gd name="connsiteX62" fmla="*/ 16073 w 6050161"/>
              <a:gd name="connsiteY62" fmla="*/ 1587102 h 3001566"/>
              <a:gd name="connsiteX63" fmla="*/ 197 w 6050161"/>
              <a:gd name="connsiteY63" fmla="*/ 1602977 h 3001566"/>
              <a:gd name="connsiteX64" fmla="*/ 197 w 6050161"/>
              <a:gd name="connsiteY64" fmla="*/ 1666477 h 3001566"/>
              <a:gd name="connsiteX65" fmla="*/ 16073 w 6050161"/>
              <a:gd name="connsiteY65" fmla="*/ 1682352 h 3001566"/>
              <a:gd name="connsiteX66" fmla="*/ 31947 w 6050161"/>
              <a:gd name="connsiteY66" fmla="*/ 1745852 h 3001566"/>
              <a:gd name="connsiteX67" fmla="*/ 47822 w 6050161"/>
              <a:gd name="connsiteY67" fmla="*/ 1793477 h 3001566"/>
              <a:gd name="connsiteX68" fmla="*/ 47822 w 6050161"/>
              <a:gd name="connsiteY68" fmla="*/ 2555477 h 3001566"/>
              <a:gd name="connsiteX69" fmla="*/ 63697 w 6050161"/>
              <a:gd name="connsiteY69" fmla="*/ 2571352 h 3001566"/>
              <a:gd name="connsiteX70" fmla="*/ 79572 w 6050161"/>
              <a:gd name="connsiteY70" fmla="*/ 2618977 h 3001566"/>
              <a:gd name="connsiteX71" fmla="*/ 79572 w 6050161"/>
              <a:gd name="connsiteY71" fmla="*/ 2650727 h 3001566"/>
              <a:gd name="connsiteX72" fmla="*/ 95447 w 6050161"/>
              <a:gd name="connsiteY72" fmla="*/ 2666602 h 3001566"/>
              <a:gd name="connsiteX73" fmla="*/ 111323 w 6050161"/>
              <a:gd name="connsiteY73" fmla="*/ 2698352 h 3001566"/>
              <a:gd name="connsiteX74" fmla="*/ 111323 w 6050161"/>
              <a:gd name="connsiteY74" fmla="*/ 2745977 h 3001566"/>
              <a:gd name="connsiteX75" fmla="*/ 127197 w 6050161"/>
              <a:gd name="connsiteY75" fmla="*/ 2761852 h 3001566"/>
              <a:gd name="connsiteX76" fmla="*/ 111323 w 6050161"/>
              <a:gd name="connsiteY76" fmla="*/ 2904727 h 3001566"/>
              <a:gd name="connsiteX77" fmla="*/ 238322 w 6050161"/>
              <a:gd name="connsiteY77" fmla="*/ 2904727 h 3001566"/>
              <a:gd name="connsiteX78" fmla="*/ 254198 w 6050161"/>
              <a:gd name="connsiteY78" fmla="*/ 2920602 h 3001566"/>
              <a:gd name="connsiteX79" fmla="*/ 587573 w 6050161"/>
              <a:gd name="connsiteY79" fmla="*/ 2920602 h 3001566"/>
              <a:gd name="connsiteX80" fmla="*/ 635198 w 6050161"/>
              <a:gd name="connsiteY80" fmla="*/ 2936477 h 3001566"/>
              <a:gd name="connsiteX81" fmla="*/ 682822 w 6050161"/>
              <a:gd name="connsiteY81" fmla="*/ 2936477 h 3001566"/>
              <a:gd name="connsiteX82" fmla="*/ 730448 w 6050161"/>
              <a:gd name="connsiteY82" fmla="*/ 2952352 h 3001566"/>
              <a:gd name="connsiteX83" fmla="*/ 1397197 w 6050161"/>
              <a:gd name="connsiteY83" fmla="*/ 2936477 h 3001566"/>
              <a:gd name="connsiteX84" fmla="*/ 1555947 w 6050161"/>
              <a:gd name="connsiteY84" fmla="*/ 2920602 h 3001566"/>
              <a:gd name="connsiteX85" fmla="*/ 2127447 w 6050161"/>
              <a:gd name="connsiteY85" fmla="*/ 2920602 h 3001566"/>
              <a:gd name="connsiteX86" fmla="*/ 2175072 w 6050161"/>
              <a:gd name="connsiteY86" fmla="*/ 2936477 h 3001566"/>
              <a:gd name="connsiteX87" fmla="*/ 2206822 w 6050161"/>
              <a:gd name="connsiteY87" fmla="*/ 2936477 h 3001566"/>
              <a:gd name="connsiteX88" fmla="*/ 2238572 w 6050161"/>
              <a:gd name="connsiteY88" fmla="*/ 2952352 h 3001566"/>
              <a:gd name="connsiteX89" fmla="*/ 2540198 w 6050161"/>
              <a:gd name="connsiteY89" fmla="*/ 2952352 h 3001566"/>
              <a:gd name="connsiteX90" fmla="*/ 2603697 w 6050161"/>
              <a:gd name="connsiteY90" fmla="*/ 2968227 h 3001566"/>
              <a:gd name="connsiteX91" fmla="*/ 2698947 w 6050161"/>
              <a:gd name="connsiteY91" fmla="*/ 2968227 h 3001566"/>
              <a:gd name="connsiteX92" fmla="*/ 2762447 w 6050161"/>
              <a:gd name="connsiteY92" fmla="*/ 2999977 h 3001566"/>
              <a:gd name="connsiteX93" fmla="*/ 3460947 w 6050161"/>
              <a:gd name="connsiteY93" fmla="*/ 2999977 h 3001566"/>
              <a:gd name="connsiteX94" fmla="*/ 3476823 w 6050161"/>
              <a:gd name="connsiteY94" fmla="*/ 2984102 h 3001566"/>
              <a:gd name="connsiteX95" fmla="*/ 3699072 w 6050161"/>
              <a:gd name="connsiteY95" fmla="*/ 2984102 h 3001566"/>
              <a:gd name="connsiteX96" fmla="*/ 3714948 w 6050161"/>
              <a:gd name="connsiteY96" fmla="*/ 2968227 h 3001566"/>
              <a:gd name="connsiteX97" fmla="*/ 3778448 w 6050161"/>
              <a:gd name="connsiteY97" fmla="*/ 2968227 h 3001566"/>
              <a:gd name="connsiteX98" fmla="*/ 3810197 w 6050161"/>
              <a:gd name="connsiteY98" fmla="*/ 2952352 h 3001566"/>
              <a:gd name="connsiteX99" fmla="*/ 3889572 w 6050161"/>
              <a:gd name="connsiteY99" fmla="*/ 2952352 h 3001566"/>
              <a:gd name="connsiteX100" fmla="*/ 3905448 w 6050161"/>
              <a:gd name="connsiteY100" fmla="*/ 2936477 h 3001566"/>
              <a:gd name="connsiteX101" fmla="*/ 5683447 w 6050161"/>
              <a:gd name="connsiteY101" fmla="*/ 2936477 h 3001566"/>
              <a:gd name="connsiteX102" fmla="*/ 5715197 w 6050161"/>
              <a:gd name="connsiteY102" fmla="*/ 2952352 h 3001566"/>
              <a:gd name="connsiteX103" fmla="*/ 5762823 w 6050161"/>
              <a:gd name="connsiteY103" fmla="*/ 2952352 h 3001566"/>
              <a:gd name="connsiteX104" fmla="*/ 5810447 w 6050161"/>
              <a:gd name="connsiteY104" fmla="*/ 2968227 h 3001566"/>
              <a:gd name="connsiteX105" fmla="*/ 6000947 w 6050161"/>
              <a:gd name="connsiteY105" fmla="*/ 2952352 h 3001566"/>
              <a:gd name="connsiteX106" fmla="*/ 6016822 w 6050161"/>
              <a:gd name="connsiteY106" fmla="*/ 2936477 h 3001566"/>
              <a:gd name="connsiteX107" fmla="*/ 6048572 w 6050161"/>
              <a:gd name="connsiteY107" fmla="*/ 2920602 h 3001566"/>
              <a:gd name="connsiteX108" fmla="*/ 6032697 w 6050161"/>
              <a:gd name="connsiteY108" fmla="*/ 2761852 h 3001566"/>
              <a:gd name="connsiteX109" fmla="*/ 6032697 w 6050161"/>
              <a:gd name="connsiteY109" fmla="*/ 2682477 h 3001566"/>
              <a:gd name="connsiteX110" fmla="*/ 6016822 w 6050161"/>
              <a:gd name="connsiteY110" fmla="*/ 2666602 h 3001566"/>
              <a:gd name="connsiteX111" fmla="*/ 6000947 w 6050161"/>
              <a:gd name="connsiteY111" fmla="*/ 2603102 h 3001566"/>
              <a:gd name="connsiteX112" fmla="*/ 6000947 w 6050161"/>
              <a:gd name="connsiteY112" fmla="*/ 2555477 h 3001566"/>
              <a:gd name="connsiteX113" fmla="*/ 5985073 w 6050161"/>
              <a:gd name="connsiteY113" fmla="*/ 2523727 h 3001566"/>
              <a:gd name="connsiteX114" fmla="*/ 5985073 w 6050161"/>
              <a:gd name="connsiteY114" fmla="*/ 2507852 h 3001566"/>
              <a:gd name="connsiteX115" fmla="*/ 5969198 w 6050161"/>
              <a:gd name="connsiteY115" fmla="*/ 2476102 h 3001566"/>
              <a:gd name="connsiteX116" fmla="*/ 5953323 w 6050161"/>
              <a:gd name="connsiteY116" fmla="*/ 2396727 h 3001566"/>
              <a:gd name="connsiteX117" fmla="*/ 5953323 w 6050161"/>
              <a:gd name="connsiteY117" fmla="*/ 2317352 h 3001566"/>
              <a:gd name="connsiteX118" fmla="*/ 5969198 w 6050161"/>
              <a:gd name="connsiteY118" fmla="*/ 2301477 h 3001566"/>
              <a:gd name="connsiteX119" fmla="*/ 5969198 w 6050161"/>
              <a:gd name="connsiteY119" fmla="*/ 2253852 h 3001566"/>
              <a:gd name="connsiteX120" fmla="*/ 5985073 w 6050161"/>
              <a:gd name="connsiteY120" fmla="*/ 2237978 h 3001566"/>
              <a:gd name="connsiteX121" fmla="*/ 6000947 w 6050161"/>
              <a:gd name="connsiteY121" fmla="*/ 2110977 h 3001566"/>
              <a:gd name="connsiteX122" fmla="*/ 6016822 w 6050161"/>
              <a:gd name="connsiteY122" fmla="*/ 2063352 h 3001566"/>
              <a:gd name="connsiteX123" fmla="*/ 6016822 w 6050161"/>
              <a:gd name="connsiteY123" fmla="*/ 1983977 h 3001566"/>
              <a:gd name="connsiteX124" fmla="*/ 6032697 w 6050161"/>
              <a:gd name="connsiteY124" fmla="*/ 1968102 h 3001566"/>
              <a:gd name="connsiteX125" fmla="*/ 6032697 w 6050161"/>
              <a:gd name="connsiteY125" fmla="*/ 1825227 h 3001566"/>
              <a:gd name="connsiteX126" fmla="*/ 6048572 w 6050161"/>
              <a:gd name="connsiteY126" fmla="*/ 1793477 h 3001566"/>
              <a:gd name="connsiteX127" fmla="*/ 6048572 w 6050161"/>
              <a:gd name="connsiteY127" fmla="*/ 1650602 h 3001566"/>
              <a:gd name="connsiteX128" fmla="*/ 6032697 w 6050161"/>
              <a:gd name="connsiteY128" fmla="*/ 1634727 h 3001566"/>
              <a:gd name="connsiteX129" fmla="*/ 6032697 w 6050161"/>
              <a:gd name="connsiteY129" fmla="*/ 1460102 h 3001566"/>
              <a:gd name="connsiteX130" fmla="*/ 6016822 w 6050161"/>
              <a:gd name="connsiteY130" fmla="*/ 1444227 h 3001566"/>
              <a:gd name="connsiteX131" fmla="*/ 6016822 w 6050161"/>
              <a:gd name="connsiteY131" fmla="*/ 1380727 h 3001566"/>
              <a:gd name="connsiteX132" fmla="*/ 6000947 w 6050161"/>
              <a:gd name="connsiteY132" fmla="*/ 1364852 h 3001566"/>
              <a:gd name="connsiteX133" fmla="*/ 5985073 w 6050161"/>
              <a:gd name="connsiteY133" fmla="*/ 1301352 h 3001566"/>
              <a:gd name="connsiteX134" fmla="*/ 5985073 w 6050161"/>
              <a:gd name="connsiteY134" fmla="*/ 1206102 h 3001566"/>
              <a:gd name="connsiteX135" fmla="*/ 5969198 w 6050161"/>
              <a:gd name="connsiteY135" fmla="*/ 1190227 h 3001566"/>
              <a:gd name="connsiteX136" fmla="*/ 5953323 w 6050161"/>
              <a:gd name="connsiteY136" fmla="*/ 1079102 h 3001566"/>
              <a:gd name="connsiteX137" fmla="*/ 5953323 w 6050161"/>
              <a:gd name="connsiteY137" fmla="*/ 1063227 h 3001566"/>
              <a:gd name="connsiteX138" fmla="*/ 5937448 w 6050161"/>
              <a:gd name="connsiteY138" fmla="*/ 1047352 h 3001566"/>
              <a:gd name="connsiteX139" fmla="*/ 5937448 w 6050161"/>
              <a:gd name="connsiteY139" fmla="*/ 1047352 h 3001566"/>
              <a:gd name="connsiteX140" fmla="*/ 5921572 w 6050161"/>
              <a:gd name="connsiteY140" fmla="*/ 1031477 h 3001566"/>
              <a:gd name="connsiteX141" fmla="*/ 5905697 w 6050161"/>
              <a:gd name="connsiteY141" fmla="*/ 1015602 h 3001566"/>
              <a:gd name="connsiteX142" fmla="*/ 5905697 w 6050161"/>
              <a:gd name="connsiteY142" fmla="*/ 1015602 h 3001566"/>
              <a:gd name="connsiteX143" fmla="*/ 5889823 w 6050161"/>
              <a:gd name="connsiteY143" fmla="*/ 999727 h 3001566"/>
              <a:gd name="connsiteX144" fmla="*/ 5889823 w 6050161"/>
              <a:gd name="connsiteY144" fmla="*/ 999727 h 3001566"/>
              <a:gd name="connsiteX145" fmla="*/ 5873947 w 6050161"/>
              <a:gd name="connsiteY145" fmla="*/ 983852 h 3001566"/>
              <a:gd name="connsiteX146" fmla="*/ 5858073 w 6050161"/>
              <a:gd name="connsiteY146" fmla="*/ 983852 h 3001566"/>
              <a:gd name="connsiteX147" fmla="*/ 5842197 w 6050161"/>
              <a:gd name="connsiteY147" fmla="*/ 967977 h 3001566"/>
              <a:gd name="connsiteX148" fmla="*/ 5826322 w 6050161"/>
              <a:gd name="connsiteY148" fmla="*/ 967977 h 3001566"/>
              <a:gd name="connsiteX149" fmla="*/ 5810447 w 6050161"/>
              <a:gd name="connsiteY149" fmla="*/ 952102 h 3001566"/>
              <a:gd name="connsiteX150" fmla="*/ 5794573 w 6050161"/>
              <a:gd name="connsiteY150" fmla="*/ 952102 h 3001566"/>
              <a:gd name="connsiteX151" fmla="*/ 5778697 w 6050161"/>
              <a:gd name="connsiteY151" fmla="*/ 936227 h 3001566"/>
              <a:gd name="connsiteX152" fmla="*/ 5762823 w 6050161"/>
              <a:gd name="connsiteY152" fmla="*/ 936227 h 3001566"/>
              <a:gd name="connsiteX153" fmla="*/ 5746947 w 6050161"/>
              <a:gd name="connsiteY153" fmla="*/ 920352 h 3001566"/>
              <a:gd name="connsiteX154" fmla="*/ 5699323 w 6050161"/>
              <a:gd name="connsiteY154" fmla="*/ 920352 h 3001566"/>
              <a:gd name="connsiteX155" fmla="*/ 5683447 w 6050161"/>
              <a:gd name="connsiteY155" fmla="*/ 904477 h 3001566"/>
              <a:gd name="connsiteX156" fmla="*/ 5667573 w 6050161"/>
              <a:gd name="connsiteY156" fmla="*/ 888602 h 3001566"/>
              <a:gd name="connsiteX157" fmla="*/ 5651697 w 6050161"/>
              <a:gd name="connsiteY157" fmla="*/ 888602 h 3001566"/>
              <a:gd name="connsiteX158" fmla="*/ 5635822 w 6050161"/>
              <a:gd name="connsiteY158" fmla="*/ 872727 h 3001566"/>
              <a:gd name="connsiteX159" fmla="*/ 5619947 w 6050161"/>
              <a:gd name="connsiteY159" fmla="*/ 872727 h 3001566"/>
              <a:gd name="connsiteX160" fmla="*/ 5588197 w 6050161"/>
              <a:gd name="connsiteY160" fmla="*/ 856852 h 3001566"/>
              <a:gd name="connsiteX161" fmla="*/ 5588197 w 6050161"/>
              <a:gd name="connsiteY161" fmla="*/ 856852 h 3001566"/>
              <a:gd name="connsiteX162" fmla="*/ 5572323 w 6050161"/>
              <a:gd name="connsiteY162" fmla="*/ 840977 h 3001566"/>
              <a:gd name="connsiteX163" fmla="*/ 5556447 w 6050161"/>
              <a:gd name="connsiteY163" fmla="*/ 840977 h 3001566"/>
              <a:gd name="connsiteX164" fmla="*/ 5540572 w 6050161"/>
              <a:gd name="connsiteY164" fmla="*/ 825102 h 3001566"/>
              <a:gd name="connsiteX165" fmla="*/ 5524697 w 6050161"/>
              <a:gd name="connsiteY165" fmla="*/ 825102 h 3001566"/>
              <a:gd name="connsiteX166" fmla="*/ 5508823 w 6050161"/>
              <a:gd name="connsiteY166" fmla="*/ 809227 h 3001566"/>
              <a:gd name="connsiteX167" fmla="*/ 5492947 w 6050161"/>
              <a:gd name="connsiteY167" fmla="*/ 793352 h 3001566"/>
              <a:gd name="connsiteX168" fmla="*/ 5477073 w 6050161"/>
              <a:gd name="connsiteY168" fmla="*/ 777477 h 3001566"/>
              <a:gd name="connsiteX169" fmla="*/ 5461197 w 6050161"/>
              <a:gd name="connsiteY169" fmla="*/ 761602 h 3001566"/>
              <a:gd name="connsiteX170" fmla="*/ 5445322 w 6050161"/>
              <a:gd name="connsiteY170" fmla="*/ 761602 h 3001566"/>
              <a:gd name="connsiteX171" fmla="*/ 5429447 w 6050161"/>
              <a:gd name="connsiteY171" fmla="*/ 745727 h 3001566"/>
              <a:gd name="connsiteX172" fmla="*/ 5413573 w 6050161"/>
              <a:gd name="connsiteY172" fmla="*/ 745727 h 3001566"/>
              <a:gd name="connsiteX173" fmla="*/ 5397697 w 6050161"/>
              <a:gd name="connsiteY173" fmla="*/ 729852 h 3001566"/>
              <a:gd name="connsiteX174" fmla="*/ 5381823 w 6050161"/>
              <a:gd name="connsiteY174" fmla="*/ 729852 h 3001566"/>
              <a:gd name="connsiteX175" fmla="*/ 5365947 w 6050161"/>
              <a:gd name="connsiteY175" fmla="*/ 713977 h 3001566"/>
              <a:gd name="connsiteX176" fmla="*/ 5350072 w 6050161"/>
              <a:gd name="connsiteY176" fmla="*/ 698102 h 3001566"/>
              <a:gd name="connsiteX177" fmla="*/ 5350072 w 6050161"/>
              <a:gd name="connsiteY177" fmla="*/ 698102 h 3001566"/>
              <a:gd name="connsiteX178" fmla="*/ 5334197 w 6050161"/>
              <a:gd name="connsiteY178" fmla="*/ 682227 h 3001566"/>
              <a:gd name="connsiteX179" fmla="*/ 5318323 w 6050161"/>
              <a:gd name="connsiteY179" fmla="*/ 682227 h 3001566"/>
              <a:gd name="connsiteX180" fmla="*/ 5286573 w 6050161"/>
              <a:gd name="connsiteY180" fmla="*/ 666353 h 3001566"/>
              <a:gd name="connsiteX181" fmla="*/ 5270697 w 6050161"/>
              <a:gd name="connsiteY181" fmla="*/ 650477 h 3001566"/>
              <a:gd name="connsiteX182" fmla="*/ 5254822 w 6050161"/>
              <a:gd name="connsiteY182" fmla="*/ 634602 h 3001566"/>
              <a:gd name="connsiteX183" fmla="*/ 5238947 w 6050161"/>
              <a:gd name="connsiteY183" fmla="*/ 634602 h 3001566"/>
              <a:gd name="connsiteX184" fmla="*/ 5223073 w 6050161"/>
              <a:gd name="connsiteY184" fmla="*/ 618728 h 3001566"/>
              <a:gd name="connsiteX185" fmla="*/ 5223073 w 6050161"/>
              <a:gd name="connsiteY185" fmla="*/ 618728 h 3001566"/>
              <a:gd name="connsiteX186" fmla="*/ 5207197 w 6050161"/>
              <a:gd name="connsiteY186" fmla="*/ 602853 h 3001566"/>
              <a:gd name="connsiteX187" fmla="*/ 5191323 w 6050161"/>
              <a:gd name="connsiteY187" fmla="*/ 602853 h 3001566"/>
              <a:gd name="connsiteX188" fmla="*/ 5175447 w 6050161"/>
              <a:gd name="connsiteY188" fmla="*/ 586977 h 3001566"/>
              <a:gd name="connsiteX189" fmla="*/ 5159572 w 6050161"/>
              <a:gd name="connsiteY189" fmla="*/ 571103 h 3001566"/>
              <a:gd name="connsiteX190" fmla="*/ 5111947 w 6050161"/>
              <a:gd name="connsiteY190" fmla="*/ 571103 h 3001566"/>
              <a:gd name="connsiteX191" fmla="*/ 5096073 w 6050161"/>
              <a:gd name="connsiteY191" fmla="*/ 555228 h 3001566"/>
              <a:gd name="connsiteX192" fmla="*/ 5096073 w 6050161"/>
              <a:gd name="connsiteY192" fmla="*/ 555228 h 3001566"/>
              <a:gd name="connsiteX193" fmla="*/ 5080197 w 6050161"/>
              <a:gd name="connsiteY193" fmla="*/ 539352 h 3001566"/>
              <a:gd name="connsiteX194" fmla="*/ 5032573 w 6050161"/>
              <a:gd name="connsiteY194" fmla="*/ 539352 h 3001566"/>
              <a:gd name="connsiteX195" fmla="*/ 5016697 w 6050161"/>
              <a:gd name="connsiteY195" fmla="*/ 523478 h 3001566"/>
              <a:gd name="connsiteX196" fmla="*/ 5000823 w 6050161"/>
              <a:gd name="connsiteY196" fmla="*/ 507602 h 3001566"/>
              <a:gd name="connsiteX197" fmla="*/ 4969072 w 6050161"/>
              <a:gd name="connsiteY197" fmla="*/ 491727 h 3001566"/>
              <a:gd name="connsiteX198" fmla="*/ 4937323 w 6050161"/>
              <a:gd name="connsiteY198" fmla="*/ 491727 h 3001566"/>
              <a:gd name="connsiteX199" fmla="*/ 4921447 w 6050161"/>
              <a:gd name="connsiteY199" fmla="*/ 475853 h 3001566"/>
              <a:gd name="connsiteX200" fmla="*/ 4873822 w 6050161"/>
              <a:gd name="connsiteY200" fmla="*/ 475853 h 3001566"/>
              <a:gd name="connsiteX201" fmla="*/ 4857947 w 6050161"/>
              <a:gd name="connsiteY201" fmla="*/ 459978 h 3001566"/>
              <a:gd name="connsiteX202" fmla="*/ 4842073 w 6050161"/>
              <a:gd name="connsiteY202" fmla="*/ 444102 h 3001566"/>
              <a:gd name="connsiteX203" fmla="*/ 4810323 w 6050161"/>
              <a:gd name="connsiteY203" fmla="*/ 444102 h 3001566"/>
              <a:gd name="connsiteX204" fmla="*/ 4794447 w 6050161"/>
              <a:gd name="connsiteY204" fmla="*/ 428228 h 3001566"/>
              <a:gd name="connsiteX205" fmla="*/ 4778572 w 6050161"/>
              <a:gd name="connsiteY205" fmla="*/ 428228 h 3001566"/>
              <a:gd name="connsiteX206" fmla="*/ 4762697 w 6050161"/>
              <a:gd name="connsiteY206" fmla="*/ 412353 h 3001566"/>
              <a:gd name="connsiteX207" fmla="*/ 4746823 w 6050161"/>
              <a:gd name="connsiteY207" fmla="*/ 412353 h 3001566"/>
              <a:gd name="connsiteX208" fmla="*/ 4730947 w 6050161"/>
              <a:gd name="connsiteY208" fmla="*/ 396477 h 3001566"/>
              <a:gd name="connsiteX209" fmla="*/ 4715073 w 6050161"/>
              <a:gd name="connsiteY209" fmla="*/ 380603 h 3001566"/>
              <a:gd name="connsiteX210" fmla="*/ 4683323 w 6050161"/>
              <a:gd name="connsiteY210" fmla="*/ 364727 h 3001566"/>
              <a:gd name="connsiteX211" fmla="*/ 4667447 w 6050161"/>
              <a:gd name="connsiteY211" fmla="*/ 348852 h 3001566"/>
              <a:gd name="connsiteX212" fmla="*/ 4651573 w 6050161"/>
              <a:gd name="connsiteY212" fmla="*/ 348852 h 3001566"/>
              <a:gd name="connsiteX213" fmla="*/ 4635698 w 6050161"/>
              <a:gd name="connsiteY213" fmla="*/ 332978 h 3001566"/>
              <a:gd name="connsiteX214" fmla="*/ 4619823 w 6050161"/>
              <a:gd name="connsiteY214" fmla="*/ 317103 h 3001566"/>
              <a:gd name="connsiteX215" fmla="*/ 4619823 w 6050161"/>
              <a:gd name="connsiteY215" fmla="*/ 317103 h 3001566"/>
              <a:gd name="connsiteX216" fmla="*/ 4603947 w 6050161"/>
              <a:gd name="connsiteY216" fmla="*/ 301227 h 3001566"/>
              <a:gd name="connsiteX217" fmla="*/ 4588073 w 6050161"/>
              <a:gd name="connsiteY217" fmla="*/ 285353 h 3001566"/>
              <a:gd name="connsiteX218" fmla="*/ 4572197 w 6050161"/>
              <a:gd name="connsiteY218" fmla="*/ 269478 h 3001566"/>
              <a:gd name="connsiteX219" fmla="*/ 4556323 w 6050161"/>
              <a:gd name="connsiteY219" fmla="*/ 253602 h 3001566"/>
              <a:gd name="connsiteX220" fmla="*/ 4556323 w 6050161"/>
              <a:gd name="connsiteY220" fmla="*/ 253602 h 3001566"/>
              <a:gd name="connsiteX221" fmla="*/ 4540448 w 6050161"/>
              <a:gd name="connsiteY221" fmla="*/ 237728 h 3001566"/>
              <a:gd name="connsiteX222" fmla="*/ 4508697 w 6050161"/>
              <a:gd name="connsiteY222" fmla="*/ 221852 h 3001566"/>
              <a:gd name="connsiteX223" fmla="*/ 4461073 w 6050161"/>
              <a:gd name="connsiteY223" fmla="*/ 205977 h 3001566"/>
              <a:gd name="connsiteX224" fmla="*/ 4413447 w 6050161"/>
              <a:gd name="connsiteY224" fmla="*/ 205977 h 3001566"/>
              <a:gd name="connsiteX225" fmla="*/ 4397573 w 6050161"/>
              <a:gd name="connsiteY225" fmla="*/ 190103 h 3001566"/>
              <a:gd name="connsiteX226" fmla="*/ 4334073 w 6050161"/>
              <a:gd name="connsiteY226" fmla="*/ 190103 h 3001566"/>
              <a:gd name="connsiteX227" fmla="*/ 4302323 w 6050161"/>
              <a:gd name="connsiteY227" fmla="*/ 174228 h 3001566"/>
              <a:gd name="connsiteX228" fmla="*/ 4016573 w 6050161"/>
              <a:gd name="connsiteY228" fmla="*/ 174228 h 3001566"/>
              <a:gd name="connsiteX229" fmla="*/ 4000698 w 6050161"/>
              <a:gd name="connsiteY229" fmla="*/ 158352 h 3001566"/>
              <a:gd name="connsiteX230" fmla="*/ 3921323 w 6050161"/>
              <a:gd name="connsiteY230" fmla="*/ 158352 h 3001566"/>
              <a:gd name="connsiteX231" fmla="*/ 3889572 w 6050161"/>
              <a:gd name="connsiteY231" fmla="*/ 142478 h 3001566"/>
              <a:gd name="connsiteX232" fmla="*/ 3857823 w 6050161"/>
              <a:gd name="connsiteY232" fmla="*/ 142478 h 3001566"/>
              <a:gd name="connsiteX233" fmla="*/ 3841947 w 6050161"/>
              <a:gd name="connsiteY233" fmla="*/ 126603 h 3001566"/>
              <a:gd name="connsiteX234" fmla="*/ 3778448 w 6050161"/>
              <a:gd name="connsiteY234" fmla="*/ 126603 h 3001566"/>
              <a:gd name="connsiteX235" fmla="*/ 3762573 w 6050161"/>
              <a:gd name="connsiteY235" fmla="*/ 110727 h 3001566"/>
              <a:gd name="connsiteX236" fmla="*/ 3746697 w 6050161"/>
              <a:gd name="connsiteY236" fmla="*/ 110727 h 3001566"/>
              <a:gd name="connsiteX237" fmla="*/ 3714948 w 6050161"/>
              <a:gd name="connsiteY237" fmla="*/ 94853 h 3001566"/>
              <a:gd name="connsiteX238" fmla="*/ 3651447 w 6050161"/>
              <a:gd name="connsiteY238" fmla="*/ 94853 h 3001566"/>
              <a:gd name="connsiteX239" fmla="*/ 3619698 w 6050161"/>
              <a:gd name="connsiteY239" fmla="*/ 78978 h 3001566"/>
              <a:gd name="connsiteX240" fmla="*/ 3413322 w 6050161"/>
              <a:gd name="connsiteY240" fmla="*/ 78978 h 3001566"/>
              <a:gd name="connsiteX241" fmla="*/ 3397448 w 6050161"/>
              <a:gd name="connsiteY241" fmla="*/ 63103 h 3001566"/>
              <a:gd name="connsiteX242" fmla="*/ 2556072 w 6050161"/>
              <a:gd name="connsiteY242" fmla="*/ 47228 h 3001566"/>
              <a:gd name="connsiteX243" fmla="*/ 2476697 w 6050161"/>
              <a:gd name="connsiteY243" fmla="*/ 47228 h 3001566"/>
              <a:gd name="connsiteX244" fmla="*/ 2444947 w 6050161"/>
              <a:gd name="connsiteY244" fmla="*/ 31352 h 3001566"/>
              <a:gd name="connsiteX245" fmla="*/ 2365572 w 6050161"/>
              <a:gd name="connsiteY245" fmla="*/ 15478 h 3001566"/>
              <a:gd name="connsiteX246" fmla="*/ 2270323 w 6050161"/>
              <a:gd name="connsiteY246" fmla="*/ 15478 h 3001566"/>
              <a:gd name="connsiteX247" fmla="*/ 2238572 w 6050161"/>
              <a:gd name="connsiteY247" fmla="*/ -397 h 3001566"/>
              <a:gd name="connsiteX248" fmla="*/ 1254323 w 6050161"/>
              <a:gd name="connsiteY248" fmla="*/ 15478 h 3001566"/>
              <a:gd name="connsiteX249" fmla="*/ 1222572 w 6050161"/>
              <a:gd name="connsiteY249" fmla="*/ 15478 h 3001566"/>
              <a:gd name="connsiteX250" fmla="*/ 1190822 w 6050161"/>
              <a:gd name="connsiteY250" fmla="*/ 31352 h 3001566"/>
              <a:gd name="connsiteX251" fmla="*/ 1174947 w 6050161"/>
              <a:gd name="connsiteY251" fmla="*/ 47228 h 3001566"/>
              <a:gd name="connsiteX252" fmla="*/ 1159073 w 6050161"/>
              <a:gd name="connsiteY252" fmla="*/ 47228 h 3001566"/>
              <a:gd name="connsiteX253" fmla="*/ 1143197 w 6050161"/>
              <a:gd name="connsiteY253" fmla="*/ 63103 h 3001566"/>
              <a:gd name="connsiteX254" fmla="*/ 1127322 w 6050161"/>
              <a:gd name="connsiteY254" fmla="*/ 63103 h 3001566"/>
              <a:gd name="connsiteX255" fmla="*/ 1111448 w 6050161"/>
              <a:gd name="connsiteY255" fmla="*/ 78978 h 3001566"/>
              <a:gd name="connsiteX256" fmla="*/ 1063823 w 6050161"/>
              <a:gd name="connsiteY256" fmla="*/ 78978 h 3001566"/>
              <a:gd name="connsiteX257" fmla="*/ 1047947 w 6050161"/>
              <a:gd name="connsiteY257" fmla="*/ 94853 h 3001566"/>
              <a:gd name="connsiteX258" fmla="*/ 1032072 w 6050161"/>
              <a:gd name="connsiteY258" fmla="*/ 110727 h 3001566"/>
              <a:gd name="connsiteX259" fmla="*/ 1016198 w 6050161"/>
              <a:gd name="connsiteY259" fmla="*/ 126603 h 3001566"/>
              <a:gd name="connsiteX260" fmla="*/ 1016198 w 6050161"/>
              <a:gd name="connsiteY260" fmla="*/ 126603 h 3001566"/>
              <a:gd name="connsiteX261" fmla="*/ 1000322 w 6050161"/>
              <a:gd name="connsiteY261" fmla="*/ 142478 h 3001566"/>
              <a:gd name="connsiteX262" fmla="*/ 984447 w 6050161"/>
              <a:gd name="connsiteY262" fmla="*/ 158352 h 3001566"/>
              <a:gd name="connsiteX263" fmla="*/ 968572 w 6050161"/>
              <a:gd name="connsiteY263" fmla="*/ 174228 h 3001566"/>
              <a:gd name="connsiteX264" fmla="*/ 952697 w 6050161"/>
              <a:gd name="connsiteY264" fmla="*/ 190103 h 3001566"/>
              <a:gd name="connsiteX265" fmla="*/ 936822 w 6050161"/>
              <a:gd name="connsiteY265" fmla="*/ 205977 h 3001566"/>
              <a:gd name="connsiteX266" fmla="*/ 920948 w 6050161"/>
              <a:gd name="connsiteY266" fmla="*/ 221852 h 3001566"/>
              <a:gd name="connsiteX267" fmla="*/ 905072 w 6050161"/>
              <a:gd name="connsiteY267" fmla="*/ 237728 h 3001566"/>
              <a:gd name="connsiteX268" fmla="*/ 905072 w 6050161"/>
              <a:gd name="connsiteY268" fmla="*/ 253602 h 3001566"/>
              <a:gd name="connsiteX269" fmla="*/ 889197 w 6050161"/>
              <a:gd name="connsiteY269" fmla="*/ 269478 h 3001566"/>
              <a:gd name="connsiteX270" fmla="*/ 889197 w 6050161"/>
              <a:gd name="connsiteY270" fmla="*/ 269478 h 3001566"/>
              <a:gd name="connsiteX271" fmla="*/ 873323 w 6050161"/>
              <a:gd name="connsiteY271" fmla="*/ 285353 h 3001566"/>
              <a:gd name="connsiteX272" fmla="*/ 873323 w 6050161"/>
              <a:gd name="connsiteY272" fmla="*/ 301227 h 3001566"/>
              <a:gd name="connsiteX273" fmla="*/ 857447 w 6050161"/>
              <a:gd name="connsiteY273" fmla="*/ 317103 h 3001566"/>
              <a:gd name="connsiteX274" fmla="*/ 857447 w 6050161"/>
              <a:gd name="connsiteY274" fmla="*/ 332978 h 3001566"/>
              <a:gd name="connsiteX275" fmla="*/ 841572 w 6050161"/>
              <a:gd name="connsiteY275" fmla="*/ 348852 h 3001566"/>
              <a:gd name="connsiteX276" fmla="*/ 825698 w 6050161"/>
              <a:gd name="connsiteY276" fmla="*/ 364727 h 3001566"/>
              <a:gd name="connsiteX277" fmla="*/ 809822 w 6050161"/>
              <a:gd name="connsiteY277" fmla="*/ 396477 h 3001566"/>
              <a:gd name="connsiteX278" fmla="*/ 793947 w 6050161"/>
              <a:gd name="connsiteY278" fmla="*/ 428228 h 3001566"/>
              <a:gd name="connsiteX279" fmla="*/ 778073 w 6050161"/>
              <a:gd name="connsiteY279" fmla="*/ 459978 h 3001566"/>
              <a:gd name="connsiteX280" fmla="*/ 778073 w 6050161"/>
              <a:gd name="connsiteY280" fmla="*/ 475853 h 3001566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</a:cxnLst>
            <a:rect l="l" t="t" r="r" b="b"/>
            <a:pathLst>
              <a:path w="6050161" h="3001566">
                <a:moveTo>
                  <a:pt x="778073" y="364727"/>
                </a:moveTo>
                <a:cubicBezTo>
                  <a:pt x="778073" y="372136"/>
                  <a:pt x="779131" y="467386"/>
                  <a:pt x="778073" y="475853"/>
                </a:cubicBezTo>
                <a:cubicBezTo>
                  <a:pt x="777014" y="484319"/>
                  <a:pt x="763256" y="487494"/>
                  <a:pt x="762197" y="491727"/>
                </a:cubicBezTo>
                <a:cubicBezTo>
                  <a:pt x="761139" y="495961"/>
                  <a:pt x="763256" y="535119"/>
                  <a:pt x="762197" y="539352"/>
                </a:cubicBezTo>
                <a:cubicBezTo>
                  <a:pt x="761139" y="543585"/>
                  <a:pt x="748439" y="550994"/>
                  <a:pt x="746322" y="555228"/>
                </a:cubicBezTo>
                <a:cubicBezTo>
                  <a:pt x="744206" y="559461"/>
                  <a:pt x="731506" y="596502"/>
                  <a:pt x="730448" y="602853"/>
                </a:cubicBezTo>
                <a:cubicBezTo>
                  <a:pt x="729389" y="609202"/>
                  <a:pt x="731506" y="646244"/>
                  <a:pt x="730448" y="650477"/>
                </a:cubicBezTo>
                <a:cubicBezTo>
                  <a:pt x="729389" y="654710"/>
                  <a:pt x="715631" y="664236"/>
                  <a:pt x="714572" y="666353"/>
                </a:cubicBezTo>
                <a:cubicBezTo>
                  <a:pt x="713514" y="668469"/>
                  <a:pt x="716689" y="680110"/>
                  <a:pt x="714572" y="682227"/>
                </a:cubicBezTo>
                <a:cubicBezTo>
                  <a:pt x="712456" y="684344"/>
                  <a:pt x="685997" y="694927"/>
                  <a:pt x="682822" y="698102"/>
                </a:cubicBezTo>
                <a:cubicBezTo>
                  <a:pt x="679648" y="701277"/>
                  <a:pt x="669064" y="725619"/>
                  <a:pt x="666947" y="729852"/>
                </a:cubicBezTo>
                <a:cubicBezTo>
                  <a:pt x="664830" y="734086"/>
                  <a:pt x="652131" y="757369"/>
                  <a:pt x="651072" y="761602"/>
                </a:cubicBezTo>
                <a:cubicBezTo>
                  <a:pt x="650014" y="765835"/>
                  <a:pt x="652130" y="790177"/>
                  <a:pt x="651072" y="793352"/>
                </a:cubicBezTo>
                <a:cubicBezTo>
                  <a:pt x="650014" y="796527"/>
                  <a:pt x="637314" y="807110"/>
                  <a:pt x="635198" y="809227"/>
                </a:cubicBezTo>
                <a:cubicBezTo>
                  <a:pt x="633081" y="811343"/>
                  <a:pt x="620381" y="821927"/>
                  <a:pt x="619322" y="825102"/>
                </a:cubicBezTo>
                <a:cubicBezTo>
                  <a:pt x="618264" y="828277"/>
                  <a:pt x="620381" y="853677"/>
                  <a:pt x="619322" y="856852"/>
                </a:cubicBezTo>
                <a:cubicBezTo>
                  <a:pt x="618264" y="860027"/>
                  <a:pt x="604505" y="870610"/>
                  <a:pt x="603447" y="872727"/>
                </a:cubicBezTo>
                <a:cubicBezTo>
                  <a:pt x="602389" y="874844"/>
                  <a:pt x="604505" y="886486"/>
                  <a:pt x="603447" y="888602"/>
                </a:cubicBezTo>
                <a:cubicBezTo>
                  <a:pt x="602389" y="890718"/>
                  <a:pt x="588631" y="902360"/>
                  <a:pt x="587573" y="904477"/>
                </a:cubicBezTo>
                <a:cubicBezTo>
                  <a:pt x="586514" y="906593"/>
                  <a:pt x="588631" y="918235"/>
                  <a:pt x="587573" y="920352"/>
                </a:cubicBezTo>
                <a:cubicBezTo>
                  <a:pt x="586514" y="922469"/>
                  <a:pt x="573814" y="934110"/>
                  <a:pt x="571697" y="936227"/>
                </a:cubicBezTo>
                <a:cubicBezTo>
                  <a:pt x="569580" y="938343"/>
                  <a:pt x="557939" y="948927"/>
                  <a:pt x="555823" y="952102"/>
                </a:cubicBezTo>
                <a:cubicBezTo>
                  <a:pt x="553706" y="955277"/>
                  <a:pt x="541006" y="981735"/>
                  <a:pt x="539947" y="983852"/>
                </a:cubicBezTo>
                <a:cubicBezTo>
                  <a:pt x="538889" y="985969"/>
                  <a:pt x="541006" y="982794"/>
                  <a:pt x="539947" y="983852"/>
                </a:cubicBezTo>
                <a:cubicBezTo>
                  <a:pt x="538889" y="984910"/>
                  <a:pt x="526189" y="997610"/>
                  <a:pt x="524072" y="999727"/>
                </a:cubicBezTo>
                <a:cubicBezTo>
                  <a:pt x="521955" y="1001843"/>
                  <a:pt x="510314" y="1013486"/>
                  <a:pt x="508197" y="1015602"/>
                </a:cubicBezTo>
                <a:cubicBezTo>
                  <a:pt x="506081" y="1017719"/>
                  <a:pt x="494439" y="1029360"/>
                  <a:pt x="492322" y="1031477"/>
                </a:cubicBezTo>
                <a:cubicBezTo>
                  <a:pt x="490206" y="1033593"/>
                  <a:pt x="477506" y="1045236"/>
                  <a:pt x="476447" y="1047352"/>
                </a:cubicBezTo>
                <a:cubicBezTo>
                  <a:pt x="475389" y="1049469"/>
                  <a:pt x="477506" y="1061110"/>
                  <a:pt x="476447" y="1063227"/>
                </a:cubicBezTo>
                <a:cubicBezTo>
                  <a:pt x="475389" y="1065344"/>
                  <a:pt x="462689" y="1078043"/>
                  <a:pt x="460572" y="1079102"/>
                </a:cubicBezTo>
                <a:cubicBezTo>
                  <a:pt x="458456" y="1080160"/>
                  <a:pt x="446814" y="1078044"/>
                  <a:pt x="444698" y="1079102"/>
                </a:cubicBezTo>
                <a:cubicBezTo>
                  <a:pt x="442581" y="1080160"/>
                  <a:pt x="431997" y="1092860"/>
                  <a:pt x="428822" y="1094977"/>
                </a:cubicBezTo>
                <a:cubicBezTo>
                  <a:pt x="425647" y="1097093"/>
                  <a:pt x="399189" y="1109794"/>
                  <a:pt x="397073" y="1110852"/>
                </a:cubicBezTo>
                <a:cubicBezTo>
                  <a:pt x="394956" y="1111910"/>
                  <a:pt x="398131" y="1109793"/>
                  <a:pt x="397073" y="1110852"/>
                </a:cubicBezTo>
                <a:cubicBezTo>
                  <a:pt x="396014" y="1111910"/>
                  <a:pt x="383314" y="1124610"/>
                  <a:pt x="381197" y="1126727"/>
                </a:cubicBezTo>
                <a:cubicBezTo>
                  <a:pt x="379080" y="1128843"/>
                  <a:pt x="366381" y="1141544"/>
                  <a:pt x="365322" y="1142602"/>
                </a:cubicBezTo>
                <a:cubicBezTo>
                  <a:pt x="364264" y="1143661"/>
                  <a:pt x="366380" y="1141544"/>
                  <a:pt x="365322" y="1142602"/>
                </a:cubicBezTo>
                <a:cubicBezTo>
                  <a:pt x="364264" y="1143661"/>
                  <a:pt x="351564" y="1156360"/>
                  <a:pt x="349448" y="1158477"/>
                </a:cubicBezTo>
                <a:cubicBezTo>
                  <a:pt x="347331" y="1160594"/>
                  <a:pt x="335689" y="1170119"/>
                  <a:pt x="333572" y="1174352"/>
                </a:cubicBezTo>
                <a:cubicBezTo>
                  <a:pt x="331455" y="1178585"/>
                  <a:pt x="318756" y="1215627"/>
                  <a:pt x="317697" y="1221977"/>
                </a:cubicBezTo>
                <a:cubicBezTo>
                  <a:pt x="316639" y="1228327"/>
                  <a:pt x="318756" y="1265369"/>
                  <a:pt x="317697" y="1269602"/>
                </a:cubicBezTo>
                <a:cubicBezTo>
                  <a:pt x="316639" y="1273835"/>
                  <a:pt x="303939" y="1283360"/>
                  <a:pt x="301823" y="1285477"/>
                </a:cubicBezTo>
                <a:cubicBezTo>
                  <a:pt x="299706" y="1287593"/>
                  <a:pt x="287006" y="1299235"/>
                  <a:pt x="285947" y="1301352"/>
                </a:cubicBezTo>
                <a:cubicBezTo>
                  <a:pt x="284889" y="1303469"/>
                  <a:pt x="287005" y="1315110"/>
                  <a:pt x="285947" y="1317227"/>
                </a:cubicBezTo>
                <a:cubicBezTo>
                  <a:pt x="284889" y="1319343"/>
                  <a:pt x="271130" y="1330986"/>
                  <a:pt x="270072" y="1333102"/>
                </a:cubicBezTo>
                <a:cubicBezTo>
                  <a:pt x="269014" y="1335219"/>
                  <a:pt x="271131" y="1346860"/>
                  <a:pt x="270072" y="1348977"/>
                </a:cubicBezTo>
                <a:cubicBezTo>
                  <a:pt x="269014" y="1351094"/>
                  <a:pt x="256314" y="1362735"/>
                  <a:pt x="254198" y="1364852"/>
                </a:cubicBezTo>
                <a:cubicBezTo>
                  <a:pt x="252081" y="1366969"/>
                  <a:pt x="240439" y="1379668"/>
                  <a:pt x="238322" y="1380727"/>
                </a:cubicBezTo>
                <a:cubicBezTo>
                  <a:pt x="236205" y="1381785"/>
                  <a:pt x="224564" y="1379668"/>
                  <a:pt x="222447" y="1380727"/>
                </a:cubicBezTo>
                <a:cubicBezTo>
                  <a:pt x="220331" y="1381785"/>
                  <a:pt x="209747" y="1394485"/>
                  <a:pt x="206573" y="1396602"/>
                </a:cubicBezTo>
                <a:cubicBezTo>
                  <a:pt x="203398" y="1398718"/>
                  <a:pt x="176939" y="1411419"/>
                  <a:pt x="174822" y="1412477"/>
                </a:cubicBezTo>
                <a:cubicBezTo>
                  <a:pt x="172706" y="1413535"/>
                  <a:pt x="175881" y="1411418"/>
                  <a:pt x="174822" y="1412477"/>
                </a:cubicBezTo>
                <a:cubicBezTo>
                  <a:pt x="173764" y="1413535"/>
                  <a:pt x="162122" y="1426235"/>
                  <a:pt x="158948" y="1428352"/>
                </a:cubicBezTo>
                <a:cubicBezTo>
                  <a:pt x="155773" y="1430469"/>
                  <a:pt x="129314" y="1443168"/>
                  <a:pt x="127197" y="1444227"/>
                </a:cubicBezTo>
                <a:cubicBezTo>
                  <a:pt x="125081" y="1445285"/>
                  <a:pt x="128256" y="1443168"/>
                  <a:pt x="127197" y="1444227"/>
                </a:cubicBezTo>
                <a:cubicBezTo>
                  <a:pt x="126139" y="1445285"/>
                  <a:pt x="113439" y="1457985"/>
                  <a:pt x="111323" y="1460102"/>
                </a:cubicBezTo>
                <a:cubicBezTo>
                  <a:pt x="109206" y="1462218"/>
                  <a:pt x="98622" y="1473860"/>
                  <a:pt x="95447" y="1475977"/>
                </a:cubicBezTo>
                <a:cubicBezTo>
                  <a:pt x="92272" y="1478093"/>
                  <a:pt x="66872" y="1489735"/>
                  <a:pt x="63697" y="1491852"/>
                </a:cubicBezTo>
                <a:cubicBezTo>
                  <a:pt x="60523" y="1493968"/>
                  <a:pt x="49939" y="1505610"/>
                  <a:pt x="47822" y="1507727"/>
                </a:cubicBezTo>
                <a:cubicBezTo>
                  <a:pt x="45705" y="1509843"/>
                  <a:pt x="33006" y="1519368"/>
                  <a:pt x="31947" y="1523602"/>
                </a:cubicBezTo>
                <a:cubicBezTo>
                  <a:pt x="30889" y="1527835"/>
                  <a:pt x="33006" y="1566993"/>
                  <a:pt x="31947" y="1571227"/>
                </a:cubicBezTo>
                <a:cubicBezTo>
                  <a:pt x="30889" y="1575460"/>
                  <a:pt x="17131" y="1586043"/>
                  <a:pt x="16073" y="1587102"/>
                </a:cubicBezTo>
                <a:cubicBezTo>
                  <a:pt x="15014" y="1588160"/>
                  <a:pt x="17131" y="1586043"/>
                  <a:pt x="16073" y="1587102"/>
                </a:cubicBezTo>
                <a:cubicBezTo>
                  <a:pt x="15014" y="1588160"/>
                  <a:pt x="1256" y="1597685"/>
                  <a:pt x="197" y="1602977"/>
                </a:cubicBezTo>
                <a:cubicBezTo>
                  <a:pt x="-860" y="1608268"/>
                  <a:pt x="-860" y="1661185"/>
                  <a:pt x="197" y="1666477"/>
                </a:cubicBezTo>
                <a:cubicBezTo>
                  <a:pt x="1256" y="1671768"/>
                  <a:pt x="13956" y="1677060"/>
                  <a:pt x="16073" y="1682352"/>
                </a:cubicBezTo>
                <a:cubicBezTo>
                  <a:pt x="18189" y="1687644"/>
                  <a:pt x="29831" y="1738443"/>
                  <a:pt x="31947" y="1745852"/>
                </a:cubicBezTo>
                <a:cubicBezTo>
                  <a:pt x="34064" y="1753260"/>
                  <a:pt x="46764" y="1739502"/>
                  <a:pt x="47822" y="1793477"/>
                </a:cubicBezTo>
                <a:cubicBezTo>
                  <a:pt x="48881" y="1847452"/>
                  <a:pt x="46764" y="2503618"/>
                  <a:pt x="47822" y="2555477"/>
                </a:cubicBezTo>
                <a:cubicBezTo>
                  <a:pt x="48881" y="2607335"/>
                  <a:pt x="61581" y="2567118"/>
                  <a:pt x="63697" y="2571352"/>
                </a:cubicBezTo>
                <a:cubicBezTo>
                  <a:pt x="65814" y="2575585"/>
                  <a:pt x="78514" y="2613685"/>
                  <a:pt x="79572" y="2618977"/>
                </a:cubicBezTo>
                <a:cubicBezTo>
                  <a:pt x="80630" y="2624268"/>
                  <a:pt x="78514" y="2647552"/>
                  <a:pt x="79572" y="2650727"/>
                </a:cubicBezTo>
                <a:cubicBezTo>
                  <a:pt x="80631" y="2653902"/>
                  <a:pt x="93330" y="2663426"/>
                  <a:pt x="95447" y="2666602"/>
                </a:cubicBezTo>
                <a:cubicBezTo>
                  <a:pt x="97564" y="2669776"/>
                  <a:pt x="110264" y="2693060"/>
                  <a:pt x="111323" y="2698352"/>
                </a:cubicBezTo>
                <a:cubicBezTo>
                  <a:pt x="112381" y="2703644"/>
                  <a:pt x="110264" y="2741743"/>
                  <a:pt x="111323" y="2745977"/>
                </a:cubicBezTo>
                <a:cubicBezTo>
                  <a:pt x="112381" y="2750210"/>
                  <a:pt x="127197" y="2751268"/>
                  <a:pt x="127197" y="2761852"/>
                </a:cubicBezTo>
                <a:cubicBezTo>
                  <a:pt x="127197" y="2772435"/>
                  <a:pt x="103914" y="2895201"/>
                  <a:pt x="111323" y="2904727"/>
                </a:cubicBezTo>
                <a:cubicBezTo>
                  <a:pt x="118731" y="2914251"/>
                  <a:pt x="228797" y="2903668"/>
                  <a:pt x="238322" y="2904727"/>
                </a:cubicBezTo>
                <a:cubicBezTo>
                  <a:pt x="247847" y="2905784"/>
                  <a:pt x="230914" y="2919544"/>
                  <a:pt x="254198" y="2920602"/>
                </a:cubicBezTo>
                <a:cubicBezTo>
                  <a:pt x="277481" y="2921660"/>
                  <a:pt x="562173" y="2919543"/>
                  <a:pt x="587573" y="2920602"/>
                </a:cubicBezTo>
                <a:cubicBezTo>
                  <a:pt x="612973" y="2921660"/>
                  <a:pt x="628847" y="2935418"/>
                  <a:pt x="635198" y="2936477"/>
                </a:cubicBezTo>
                <a:cubicBezTo>
                  <a:pt x="641548" y="2937536"/>
                  <a:pt x="676473" y="2935418"/>
                  <a:pt x="682822" y="2936477"/>
                </a:cubicBezTo>
                <a:cubicBezTo>
                  <a:pt x="689172" y="2937535"/>
                  <a:pt x="682822" y="2952351"/>
                  <a:pt x="730448" y="2952352"/>
                </a:cubicBezTo>
                <a:cubicBezTo>
                  <a:pt x="778073" y="2952351"/>
                  <a:pt x="1342164" y="2938594"/>
                  <a:pt x="1397197" y="2936477"/>
                </a:cubicBezTo>
                <a:cubicBezTo>
                  <a:pt x="1452230" y="2934360"/>
                  <a:pt x="1507264" y="2921660"/>
                  <a:pt x="1555947" y="2920602"/>
                </a:cubicBezTo>
                <a:cubicBezTo>
                  <a:pt x="1604630" y="2919543"/>
                  <a:pt x="2086172" y="2919543"/>
                  <a:pt x="2127447" y="2920602"/>
                </a:cubicBezTo>
                <a:cubicBezTo>
                  <a:pt x="2168722" y="2921660"/>
                  <a:pt x="2169780" y="2935418"/>
                  <a:pt x="2175072" y="2936477"/>
                </a:cubicBezTo>
                <a:cubicBezTo>
                  <a:pt x="2180364" y="2937536"/>
                  <a:pt x="2202588" y="2935418"/>
                  <a:pt x="2206822" y="2936477"/>
                </a:cubicBezTo>
                <a:cubicBezTo>
                  <a:pt x="2211055" y="2937535"/>
                  <a:pt x="2216347" y="2951293"/>
                  <a:pt x="2238572" y="2952352"/>
                </a:cubicBezTo>
                <a:cubicBezTo>
                  <a:pt x="2260797" y="2953410"/>
                  <a:pt x="2515856" y="2951292"/>
                  <a:pt x="2540198" y="2952352"/>
                </a:cubicBezTo>
                <a:cubicBezTo>
                  <a:pt x="2564539" y="2953410"/>
                  <a:pt x="2593114" y="2967168"/>
                  <a:pt x="2603697" y="2968227"/>
                </a:cubicBezTo>
                <a:cubicBezTo>
                  <a:pt x="2614280" y="2969285"/>
                  <a:pt x="2688363" y="2966110"/>
                  <a:pt x="2698947" y="2968227"/>
                </a:cubicBezTo>
                <a:cubicBezTo>
                  <a:pt x="2709530" y="2970343"/>
                  <a:pt x="2711647" y="2997860"/>
                  <a:pt x="2762447" y="2999977"/>
                </a:cubicBezTo>
                <a:cubicBezTo>
                  <a:pt x="2813247" y="3002093"/>
                  <a:pt x="3413322" y="3001035"/>
                  <a:pt x="3460947" y="2999977"/>
                </a:cubicBezTo>
                <a:cubicBezTo>
                  <a:pt x="3508572" y="2998918"/>
                  <a:pt x="3460947" y="2985160"/>
                  <a:pt x="3476823" y="2984102"/>
                </a:cubicBezTo>
                <a:cubicBezTo>
                  <a:pt x="3492697" y="2983043"/>
                  <a:pt x="3683197" y="2985160"/>
                  <a:pt x="3699072" y="2984102"/>
                </a:cubicBezTo>
                <a:cubicBezTo>
                  <a:pt x="3714947" y="2983044"/>
                  <a:pt x="3709655" y="2969284"/>
                  <a:pt x="3714948" y="2968227"/>
                </a:cubicBezTo>
                <a:cubicBezTo>
                  <a:pt x="3720240" y="2967168"/>
                  <a:pt x="3772097" y="2969285"/>
                  <a:pt x="3778448" y="2968227"/>
                </a:cubicBezTo>
                <a:cubicBezTo>
                  <a:pt x="3784797" y="2967168"/>
                  <a:pt x="3802789" y="2953410"/>
                  <a:pt x="3810197" y="2952352"/>
                </a:cubicBezTo>
                <a:cubicBezTo>
                  <a:pt x="3817605" y="2951292"/>
                  <a:pt x="3883222" y="2953410"/>
                  <a:pt x="3889572" y="2952352"/>
                </a:cubicBezTo>
                <a:cubicBezTo>
                  <a:pt x="3895921" y="2951293"/>
                  <a:pt x="3785856" y="2937535"/>
                  <a:pt x="3905448" y="2936477"/>
                </a:cubicBezTo>
                <a:cubicBezTo>
                  <a:pt x="4025039" y="2935418"/>
                  <a:pt x="5562797" y="2935418"/>
                  <a:pt x="5683447" y="2936477"/>
                </a:cubicBezTo>
                <a:cubicBezTo>
                  <a:pt x="5804097" y="2937535"/>
                  <a:pt x="5709905" y="2951293"/>
                  <a:pt x="5715197" y="2952352"/>
                </a:cubicBezTo>
                <a:cubicBezTo>
                  <a:pt x="5720489" y="2953410"/>
                  <a:pt x="5756472" y="2951292"/>
                  <a:pt x="5762823" y="2952352"/>
                </a:cubicBezTo>
                <a:cubicBezTo>
                  <a:pt x="5769172" y="2953410"/>
                  <a:pt x="5794572" y="2968226"/>
                  <a:pt x="5810447" y="2968227"/>
                </a:cubicBezTo>
                <a:cubicBezTo>
                  <a:pt x="5826322" y="2968226"/>
                  <a:pt x="5987190" y="2954468"/>
                  <a:pt x="6000947" y="2952352"/>
                </a:cubicBezTo>
                <a:cubicBezTo>
                  <a:pt x="6014705" y="2950234"/>
                  <a:pt x="6013646" y="2938594"/>
                  <a:pt x="6016822" y="2936477"/>
                </a:cubicBezTo>
                <a:cubicBezTo>
                  <a:pt x="6019997" y="2934360"/>
                  <a:pt x="6047513" y="2932243"/>
                  <a:pt x="6048572" y="2920602"/>
                </a:cubicBezTo>
                <a:cubicBezTo>
                  <a:pt x="6049631" y="2908960"/>
                  <a:pt x="6033755" y="2777726"/>
                  <a:pt x="6032697" y="2761852"/>
                </a:cubicBezTo>
                <a:cubicBezTo>
                  <a:pt x="6031638" y="2745977"/>
                  <a:pt x="6033756" y="2688827"/>
                  <a:pt x="6032697" y="2682477"/>
                </a:cubicBezTo>
                <a:cubicBezTo>
                  <a:pt x="6031637" y="2676126"/>
                  <a:pt x="6018938" y="2671894"/>
                  <a:pt x="6016822" y="2666602"/>
                </a:cubicBezTo>
                <a:cubicBezTo>
                  <a:pt x="6014705" y="2661310"/>
                  <a:pt x="6002006" y="2610510"/>
                  <a:pt x="6000947" y="2603102"/>
                </a:cubicBezTo>
                <a:cubicBezTo>
                  <a:pt x="5999889" y="2595694"/>
                  <a:pt x="6002006" y="2560769"/>
                  <a:pt x="6000947" y="2555477"/>
                </a:cubicBezTo>
                <a:cubicBezTo>
                  <a:pt x="5999889" y="2550185"/>
                  <a:pt x="5986131" y="2526901"/>
                  <a:pt x="5985073" y="2523727"/>
                </a:cubicBezTo>
                <a:cubicBezTo>
                  <a:pt x="5984014" y="2520552"/>
                  <a:pt x="5986131" y="2511026"/>
                  <a:pt x="5985073" y="2507852"/>
                </a:cubicBezTo>
                <a:cubicBezTo>
                  <a:pt x="5984014" y="2504677"/>
                  <a:pt x="5971313" y="2483510"/>
                  <a:pt x="5969198" y="2476102"/>
                </a:cubicBezTo>
                <a:cubicBezTo>
                  <a:pt x="5967080" y="2468694"/>
                  <a:pt x="5954380" y="2407310"/>
                  <a:pt x="5953323" y="2396727"/>
                </a:cubicBezTo>
                <a:cubicBezTo>
                  <a:pt x="5952264" y="2386144"/>
                  <a:pt x="5952264" y="2323702"/>
                  <a:pt x="5953323" y="2317352"/>
                </a:cubicBezTo>
                <a:cubicBezTo>
                  <a:pt x="5954380" y="2311002"/>
                  <a:pt x="5968139" y="2305710"/>
                  <a:pt x="5969198" y="2301477"/>
                </a:cubicBezTo>
                <a:cubicBezTo>
                  <a:pt x="5970255" y="2297244"/>
                  <a:pt x="5968139" y="2258085"/>
                  <a:pt x="5969198" y="2253852"/>
                </a:cubicBezTo>
                <a:cubicBezTo>
                  <a:pt x="5970255" y="2249618"/>
                  <a:pt x="5982955" y="2247502"/>
                  <a:pt x="5985073" y="2237978"/>
                </a:cubicBezTo>
                <a:cubicBezTo>
                  <a:pt x="5987190" y="2228452"/>
                  <a:pt x="5998830" y="2122618"/>
                  <a:pt x="6000947" y="2110977"/>
                </a:cubicBezTo>
                <a:cubicBezTo>
                  <a:pt x="6003063" y="2099335"/>
                  <a:pt x="6015763" y="2071818"/>
                  <a:pt x="6016822" y="2063352"/>
                </a:cubicBezTo>
                <a:cubicBezTo>
                  <a:pt x="6017879" y="2054885"/>
                  <a:pt x="6015763" y="1990326"/>
                  <a:pt x="6016822" y="1983977"/>
                </a:cubicBezTo>
                <a:cubicBezTo>
                  <a:pt x="6017880" y="1977627"/>
                  <a:pt x="6031637" y="1978685"/>
                  <a:pt x="6032697" y="1968102"/>
                </a:cubicBezTo>
                <a:cubicBezTo>
                  <a:pt x="6033756" y="1957518"/>
                  <a:pt x="6031638" y="1836868"/>
                  <a:pt x="6032697" y="1825227"/>
                </a:cubicBezTo>
                <a:cubicBezTo>
                  <a:pt x="6033755" y="1813585"/>
                  <a:pt x="6047514" y="1805118"/>
                  <a:pt x="6048572" y="1793477"/>
                </a:cubicBezTo>
                <a:cubicBezTo>
                  <a:pt x="6049629" y="1781835"/>
                  <a:pt x="6049629" y="1661185"/>
                  <a:pt x="6048572" y="1650602"/>
                </a:cubicBezTo>
                <a:cubicBezTo>
                  <a:pt x="6047514" y="1640019"/>
                  <a:pt x="6033755" y="1647427"/>
                  <a:pt x="6032697" y="1634727"/>
                </a:cubicBezTo>
                <a:cubicBezTo>
                  <a:pt x="6031638" y="1622027"/>
                  <a:pt x="6033756" y="1472802"/>
                  <a:pt x="6032697" y="1460102"/>
                </a:cubicBezTo>
                <a:cubicBezTo>
                  <a:pt x="6031637" y="1447402"/>
                  <a:pt x="6017880" y="1449519"/>
                  <a:pt x="6016822" y="1444227"/>
                </a:cubicBezTo>
                <a:cubicBezTo>
                  <a:pt x="6015763" y="1438935"/>
                  <a:pt x="6017879" y="1386018"/>
                  <a:pt x="6016822" y="1380727"/>
                </a:cubicBezTo>
                <a:cubicBezTo>
                  <a:pt x="6015763" y="1375435"/>
                  <a:pt x="6003063" y="1370143"/>
                  <a:pt x="6000947" y="1364852"/>
                </a:cubicBezTo>
                <a:cubicBezTo>
                  <a:pt x="5998830" y="1359560"/>
                  <a:pt x="5986131" y="1311935"/>
                  <a:pt x="5985073" y="1301352"/>
                </a:cubicBezTo>
                <a:cubicBezTo>
                  <a:pt x="5984014" y="1290769"/>
                  <a:pt x="5986131" y="1213511"/>
                  <a:pt x="5985073" y="1206102"/>
                </a:cubicBezTo>
                <a:cubicBezTo>
                  <a:pt x="5984014" y="1198694"/>
                  <a:pt x="5971313" y="1198693"/>
                  <a:pt x="5969198" y="1190227"/>
                </a:cubicBezTo>
                <a:cubicBezTo>
                  <a:pt x="5967080" y="1181760"/>
                  <a:pt x="5954380" y="1087569"/>
                  <a:pt x="5953323" y="1079102"/>
                </a:cubicBezTo>
                <a:cubicBezTo>
                  <a:pt x="5952264" y="1070635"/>
                  <a:pt x="5954381" y="1065344"/>
                  <a:pt x="5953323" y="1063227"/>
                </a:cubicBezTo>
                <a:cubicBezTo>
                  <a:pt x="5952264" y="1061110"/>
                  <a:pt x="5938505" y="1048411"/>
                  <a:pt x="5937448" y="1047352"/>
                </a:cubicBezTo>
                <a:cubicBezTo>
                  <a:pt x="5936388" y="1046294"/>
                  <a:pt x="5938504" y="1048411"/>
                  <a:pt x="5937448" y="1047352"/>
                </a:cubicBezTo>
                <a:cubicBezTo>
                  <a:pt x="5936389" y="1046294"/>
                  <a:pt x="5923688" y="1033593"/>
                  <a:pt x="5921572" y="1031477"/>
                </a:cubicBezTo>
                <a:cubicBezTo>
                  <a:pt x="5919455" y="1029360"/>
                  <a:pt x="5906755" y="1016660"/>
                  <a:pt x="5905697" y="1015602"/>
                </a:cubicBezTo>
                <a:cubicBezTo>
                  <a:pt x="5904638" y="1014544"/>
                  <a:pt x="5906755" y="1016660"/>
                  <a:pt x="5905697" y="1015602"/>
                </a:cubicBezTo>
                <a:cubicBezTo>
                  <a:pt x="5904639" y="1014544"/>
                  <a:pt x="5890881" y="1000785"/>
                  <a:pt x="5889823" y="999727"/>
                </a:cubicBezTo>
                <a:cubicBezTo>
                  <a:pt x="5888764" y="998668"/>
                  <a:pt x="5890881" y="1000785"/>
                  <a:pt x="5889823" y="999727"/>
                </a:cubicBezTo>
                <a:cubicBezTo>
                  <a:pt x="5888764" y="998668"/>
                  <a:pt x="5876063" y="984910"/>
                  <a:pt x="5873947" y="983852"/>
                </a:cubicBezTo>
                <a:cubicBezTo>
                  <a:pt x="5871830" y="982794"/>
                  <a:pt x="5860189" y="984910"/>
                  <a:pt x="5858073" y="983852"/>
                </a:cubicBezTo>
                <a:cubicBezTo>
                  <a:pt x="5855955" y="982794"/>
                  <a:pt x="5844313" y="969035"/>
                  <a:pt x="5842197" y="967977"/>
                </a:cubicBezTo>
                <a:cubicBezTo>
                  <a:pt x="5840080" y="966918"/>
                  <a:pt x="5828438" y="969035"/>
                  <a:pt x="5826322" y="967977"/>
                </a:cubicBezTo>
                <a:cubicBezTo>
                  <a:pt x="5824205" y="966918"/>
                  <a:pt x="5812564" y="953161"/>
                  <a:pt x="5810447" y="952102"/>
                </a:cubicBezTo>
                <a:cubicBezTo>
                  <a:pt x="5808330" y="951044"/>
                  <a:pt x="5796689" y="953161"/>
                  <a:pt x="5794573" y="952102"/>
                </a:cubicBezTo>
                <a:cubicBezTo>
                  <a:pt x="5792455" y="951044"/>
                  <a:pt x="5780813" y="937285"/>
                  <a:pt x="5778697" y="936227"/>
                </a:cubicBezTo>
                <a:cubicBezTo>
                  <a:pt x="5776580" y="935168"/>
                  <a:pt x="5764939" y="937285"/>
                  <a:pt x="5762823" y="936227"/>
                </a:cubicBezTo>
                <a:cubicBezTo>
                  <a:pt x="5760705" y="935168"/>
                  <a:pt x="5751180" y="921410"/>
                  <a:pt x="5746947" y="920352"/>
                </a:cubicBezTo>
                <a:cubicBezTo>
                  <a:pt x="5742714" y="919294"/>
                  <a:pt x="5703556" y="921410"/>
                  <a:pt x="5699323" y="920352"/>
                </a:cubicBezTo>
                <a:cubicBezTo>
                  <a:pt x="5695089" y="919294"/>
                  <a:pt x="5685563" y="906593"/>
                  <a:pt x="5683447" y="904477"/>
                </a:cubicBezTo>
                <a:cubicBezTo>
                  <a:pt x="5681331" y="902360"/>
                  <a:pt x="5669689" y="889660"/>
                  <a:pt x="5667573" y="888602"/>
                </a:cubicBezTo>
                <a:cubicBezTo>
                  <a:pt x="5665455" y="887544"/>
                  <a:pt x="5653813" y="889660"/>
                  <a:pt x="5651697" y="888602"/>
                </a:cubicBezTo>
                <a:cubicBezTo>
                  <a:pt x="5649580" y="887544"/>
                  <a:pt x="5637938" y="873785"/>
                  <a:pt x="5635822" y="872727"/>
                </a:cubicBezTo>
                <a:cubicBezTo>
                  <a:pt x="5633705" y="871668"/>
                  <a:pt x="5623123" y="873785"/>
                  <a:pt x="5619947" y="872727"/>
                </a:cubicBezTo>
                <a:cubicBezTo>
                  <a:pt x="5616771" y="871668"/>
                  <a:pt x="5590313" y="857911"/>
                  <a:pt x="5588197" y="856852"/>
                </a:cubicBezTo>
                <a:cubicBezTo>
                  <a:pt x="5586080" y="855794"/>
                  <a:pt x="5589255" y="857911"/>
                  <a:pt x="5588197" y="856852"/>
                </a:cubicBezTo>
                <a:cubicBezTo>
                  <a:pt x="5587139" y="855794"/>
                  <a:pt x="5574439" y="842035"/>
                  <a:pt x="5572323" y="840977"/>
                </a:cubicBezTo>
                <a:cubicBezTo>
                  <a:pt x="5570205" y="839918"/>
                  <a:pt x="5558563" y="842035"/>
                  <a:pt x="5556447" y="840977"/>
                </a:cubicBezTo>
                <a:cubicBezTo>
                  <a:pt x="5554330" y="839918"/>
                  <a:pt x="5542688" y="826160"/>
                  <a:pt x="5540572" y="825102"/>
                </a:cubicBezTo>
                <a:cubicBezTo>
                  <a:pt x="5538455" y="824044"/>
                  <a:pt x="5526814" y="826160"/>
                  <a:pt x="5524697" y="825102"/>
                </a:cubicBezTo>
                <a:cubicBezTo>
                  <a:pt x="5522580" y="824044"/>
                  <a:pt x="5510939" y="811343"/>
                  <a:pt x="5508823" y="809227"/>
                </a:cubicBezTo>
                <a:cubicBezTo>
                  <a:pt x="5506705" y="807110"/>
                  <a:pt x="5495063" y="795469"/>
                  <a:pt x="5492947" y="793352"/>
                </a:cubicBezTo>
                <a:cubicBezTo>
                  <a:pt x="5490830" y="791235"/>
                  <a:pt x="5479189" y="779594"/>
                  <a:pt x="5477073" y="777477"/>
                </a:cubicBezTo>
                <a:cubicBezTo>
                  <a:pt x="5474955" y="775360"/>
                  <a:pt x="5463313" y="762661"/>
                  <a:pt x="5461197" y="761602"/>
                </a:cubicBezTo>
                <a:cubicBezTo>
                  <a:pt x="5459080" y="760544"/>
                  <a:pt x="5447438" y="762661"/>
                  <a:pt x="5445322" y="761602"/>
                </a:cubicBezTo>
                <a:cubicBezTo>
                  <a:pt x="5443205" y="760544"/>
                  <a:pt x="5431564" y="746785"/>
                  <a:pt x="5429447" y="745727"/>
                </a:cubicBezTo>
                <a:cubicBezTo>
                  <a:pt x="5427331" y="744669"/>
                  <a:pt x="5415689" y="746785"/>
                  <a:pt x="5413573" y="745727"/>
                </a:cubicBezTo>
                <a:cubicBezTo>
                  <a:pt x="5411455" y="744669"/>
                  <a:pt x="5399813" y="730910"/>
                  <a:pt x="5397697" y="729852"/>
                </a:cubicBezTo>
                <a:cubicBezTo>
                  <a:pt x="5395581" y="728794"/>
                  <a:pt x="5383939" y="730910"/>
                  <a:pt x="5381823" y="729852"/>
                </a:cubicBezTo>
                <a:cubicBezTo>
                  <a:pt x="5379705" y="728794"/>
                  <a:pt x="5368063" y="716093"/>
                  <a:pt x="5365947" y="713977"/>
                </a:cubicBezTo>
                <a:cubicBezTo>
                  <a:pt x="5363830" y="711860"/>
                  <a:pt x="5351129" y="699160"/>
                  <a:pt x="5350072" y="698102"/>
                </a:cubicBezTo>
                <a:cubicBezTo>
                  <a:pt x="5349013" y="697044"/>
                  <a:pt x="5351130" y="699160"/>
                  <a:pt x="5350072" y="698102"/>
                </a:cubicBezTo>
                <a:cubicBezTo>
                  <a:pt x="5349013" y="697044"/>
                  <a:pt x="5336314" y="683285"/>
                  <a:pt x="5334197" y="682227"/>
                </a:cubicBezTo>
                <a:cubicBezTo>
                  <a:pt x="5332080" y="681168"/>
                  <a:pt x="5321497" y="683285"/>
                  <a:pt x="5318323" y="682227"/>
                </a:cubicBezTo>
                <a:cubicBezTo>
                  <a:pt x="5315147" y="681168"/>
                  <a:pt x="5289747" y="668469"/>
                  <a:pt x="5286573" y="666353"/>
                </a:cubicBezTo>
                <a:cubicBezTo>
                  <a:pt x="5283397" y="664236"/>
                  <a:pt x="5272813" y="652594"/>
                  <a:pt x="5270697" y="650477"/>
                </a:cubicBezTo>
                <a:cubicBezTo>
                  <a:pt x="5268580" y="648361"/>
                  <a:pt x="5256938" y="635660"/>
                  <a:pt x="5254822" y="634602"/>
                </a:cubicBezTo>
                <a:cubicBezTo>
                  <a:pt x="5252705" y="633544"/>
                  <a:pt x="5241064" y="635660"/>
                  <a:pt x="5238947" y="634602"/>
                </a:cubicBezTo>
                <a:cubicBezTo>
                  <a:pt x="5236830" y="633544"/>
                  <a:pt x="5224131" y="619786"/>
                  <a:pt x="5223073" y="618728"/>
                </a:cubicBezTo>
                <a:cubicBezTo>
                  <a:pt x="5222014" y="617669"/>
                  <a:pt x="5224131" y="619786"/>
                  <a:pt x="5223073" y="618728"/>
                </a:cubicBezTo>
                <a:cubicBezTo>
                  <a:pt x="5222014" y="617669"/>
                  <a:pt x="5209313" y="603911"/>
                  <a:pt x="5207197" y="602853"/>
                </a:cubicBezTo>
                <a:cubicBezTo>
                  <a:pt x="5205080" y="601794"/>
                  <a:pt x="5193439" y="603911"/>
                  <a:pt x="5191323" y="602853"/>
                </a:cubicBezTo>
                <a:cubicBezTo>
                  <a:pt x="5189205" y="601794"/>
                  <a:pt x="5177563" y="589094"/>
                  <a:pt x="5175447" y="586977"/>
                </a:cubicBezTo>
                <a:cubicBezTo>
                  <a:pt x="5173330" y="584860"/>
                  <a:pt x="5163805" y="572161"/>
                  <a:pt x="5159572" y="571103"/>
                </a:cubicBezTo>
                <a:cubicBezTo>
                  <a:pt x="5155338" y="570044"/>
                  <a:pt x="5116179" y="572161"/>
                  <a:pt x="5111947" y="571103"/>
                </a:cubicBezTo>
                <a:cubicBezTo>
                  <a:pt x="5107714" y="570044"/>
                  <a:pt x="5097130" y="556285"/>
                  <a:pt x="5096073" y="555228"/>
                </a:cubicBezTo>
                <a:cubicBezTo>
                  <a:pt x="5095014" y="554169"/>
                  <a:pt x="5097131" y="556285"/>
                  <a:pt x="5096073" y="555228"/>
                </a:cubicBezTo>
                <a:cubicBezTo>
                  <a:pt x="5095013" y="554169"/>
                  <a:pt x="5084430" y="540410"/>
                  <a:pt x="5080197" y="539352"/>
                </a:cubicBezTo>
                <a:cubicBezTo>
                  <a:pt x="5075963" y="538293"/>
                  <a:pt x="5036806" y="540410"/>
                  <a:pt x="5032573" y="539352"/>
                </a:cubicBezTo>
                <a:cubicBezTo>
                  <a:pt x="5028339" y="538293"/>
                  <a:pt x="5018813" y="525594"/>
                  <a:pt x="5016697" y="523478"/>
                </a:cubicBezTo>
                <a:cubicBezTo>
                  <a:pt x="5014580" y="521360"/>
                  <a:pt x="5003997" y="509719"/>
                  <a:pt x="5000823" y="507602"/>
                </a:cubicBezTo>
                <a:cubicBezTo>
                  <a:pt x="4997647" y="505486"/>
                  <a:pt x="4973305" y="492785"/>
                  <a:pt x="4969072" y="491727"/>
                </a:cubicBezTo>
                <a:cubicBezTo>
                  <a:pt x="4964838" y="490669"/>
                  <a:pt x="4940497" y="492785"/>
                  <a:pt x="4937323" y="491727"/>
                </a:cubicBezTo>
                <a:cubicBezTo>
                  <a:pt x="4934147" y="490669"/>
                  <a:pt x="4925680" y="476911"/>
                  <a:pt x="4921447" y="475853"/>
                </a:cubicBezTo>
                <a:cubicBezTo>
                  <a:pt x="4917213" y="474794"/>
                  <a:pt x="4878055" y="476911"/>
                  <a:pt x="4873822" y="475853"/>
                </a:cubicBezTo>
                <a:cubicBezTo>
                  <a:pt x="4869588" y="474794"/>
                  <a:pt x="4860064" y="462094"/>
                  <a:pt x="4857947" y="459978"/>
                </a:cubicBezTo>
                <a:cubicBezTo>
                  <a:pt x="4855831" y="457861"/>
                  <a:pt x="4845247" y="445160"/>
                  <a:pt x="4842073" y="444102"/>
                </a:cubicBezTo>
                <a:cubicBezTo>
                  <a:pt x="4838897" y="443044"/>
                  <a:pt x="4813497" y="445160"/>
                  <a:pt x="4810323" y="444102"/>
                </a:cubicBezTo>
                <a:cubicBezTo>
                  <a:pt x="4807147" y="443044"/>
                  <a:pt x="4796563" y="429286"/>
                  <a:pt x="4794447" y="428228"/>
                </a:cubicBezTo>
                <a:cubicBezTo>
                  <a:pt x="4792330" y="427169"/>
                  <a:pt x="4780688" y="429286"/>
                  <a:pt x="4778572" y="428228"/>
                </a:cubicBezTo>
                <a:cubicBezTo>
                  <a:pt x="4776455" y="427169"/>
                  <a:pt x="4764814" y="413410"/>
                  <a:pt x="4762697" y="412353"/>
                </a:cubicBezTo>
                <a:cubicBezTo>
                  <a:pt x="4760580" y="411294"/>
                  <a:pt x="4748939" y="413410"/>
                  <a:pt x="4746823" y="412353"/>
                </a:cubicBezTo>
                <a:cubicBezTo>
                  <a:pt x="4744705" y="411294"/>
                  <a:pt x="4733063" y="398594"/>
                  <a:pt x="4730947" y="396477"/>
                </a:cubicBezTo>
                <a:cubicBezTo>
                  <a:pt x="4728830" y="394360"/>
                  <a:pt x="4718247" y="382719"/>
                  <a:pt x="4715073" y="380603"/>
                </a:cubicBezTo>
                <a:cubicBezTo>
                  <a:pt x="4711897" y="378486"/>
                  <a:pt x="4686497" y="366844"/>
                  <a:pt x="4683323" y="364727"/>
                </a:cubicBezTo>
                <a:cubicBezTo>
                  <a:pt x="4680147" y="362611"/>
                  <a:pt x="4669564" y="349910"/>
                  <a:pt x="4667447" y="348852"/>
                </a:cubicBezTo>
                <a:cubicBezTo>
                  <a:pt x="4665330" y="347794"/>
                  <a:pt x="4653689" y="349910"/>
                  <a:pt x="4651573" y="348852"/>
                </a:cubicBezTo>
                <a:cubicBezTo>
                  <a:pt x="4649455" y="347794"/>
                  <a:pt x="4637814" y="335094"/>
                  <a:pt x="4635698" y="332978"/>
                </a:cubicBezTo>
                <a:cubicBezTo>
                  <a:pt x="4633581" y="330861"/>
                  <a:pt x="4620881" y="318161"/>
                  <a:pt x="4619823" y="317103"/>
                </a:cubicBezTo>
                <a:cubicBezTo>
                  <a:pt x="4618763" y="316044"/>
                  <a:pt x="4620880" y="318161"/>
                  <a:pt x="4619823" y="317103"/>
                </a:cubicBezTo>
                <a:cubicBezTo>
                  <a:pt x="4618764" y="316044"/>
                  <a:pt x="4606063" y="303344"/>
                  <a:pt x="4603947" y="301227"/>
                </a:cubicBezTo>
                <a:cubicBezTo>
                  <a:pt x="4601830" y="299110"/>
                  <a:pt x="4590189" y="287469"/>
                  <a:pt x="4588073" y="285353"/>
                </a:cubicBezTo>
                <a:cubicBezTo>
                  <a:pt x="4585955" y="283236"/>
                  <a:pt x="4574314" y="271594"/>
                  <a:pt x="4572197" y="269478"/>
                </a:cubicBezTo>
                <a:cubicBezTo>
                  <a:pt x="4570081" y="267361"/>
                  <a:pt x="4557381" y="254660"/>
                  <a:pt x="4556323" y="253602"/>
                </a:cubicBezTo>
                <a:cubicBezTo>
                  <a:pt x="4555264" y="252543"/>
                  <a:pt x="4557381" y="254660"/>
                  <a:pt x="4556323" y="253602"/>
                </a:cubicBezTo>
                <a:cubicBezTo>
                  <a:pt x="4555264" y="252543"/>
                  <a:pt x="4543623" y="239844"/>
                  <a:pt x="4540448" y="237728"/>
                </a:cubicBezTo>
                <a:cubicBezTo>
                  <a:pt x="4537273" y="235611"/>
                  <a:pt x="4513988" y="223969"/>
                  <a:pt x="4508697" y="221852"/>
                </a:cubicBezTo>
                <a:cubicBezTo>
                  <a:pt x="4503405" y="219736"/>
                  <a:pt x="4467423" y="207035"/>
                  <a:pt x="4461073" y="205977"/>
                </a:cubicBezTo>
                <a:cubicBezTo>
                  <a:pt x="4454722" y="204919"/>
                  <a:pt x="4417680" y="207035"/>
                  <a:pt x="4413447" y="205977"/>
                </a:cubicBezTo>
                <a:cubicBezTo>
                  <a:pt x="4409213" y="204919"/>
                  <a:pt x="4402864" y="191161"/>
                  <a:pt x="4397573" y="190103"/>
                </a:cubicBezTo>
                <a:cubicBezTo>
                  <a:pt x="4392281" y="189044"/>
                  <a:pt x="4340422" y="191161"/>
                  <a:pt x="4334073" y="190103"/>
                </a:cubicBezTo>
                <a:cubicBezTo>
                  <a:pt x="4327722" y="189044"/>
                  <a:pt x="4323489" y="175286"/>
                  <a:pt x="4302323" y="174228"/>
                </a:cubicBezTo>
                <a:cubicBezTo>
                  <a:pt x="4281155" y="173169"/>
                  <a:pt x="4036680" y="175286"/>
                  <a:pt x="4016573" y="174228"/>
                </a:cubicBezTo>
                <a:cubicBezTo>
                  <a:pt x="3996464" y="173169"/>
                  <a:pt x="4007047" y="159410"/>
                  <a:pt x="4000698" y="158352"/>
                </a:cubicBezTo>
                <a:cubicBezTo>
                  <a:pt x="3994348" y="157294"/>
                  <a:pt x="3928730" y="159410"/>
                  <a:pt x="3921323" y="158352"/>
                </a:cubicBezTo>
                <a:cubicBezTo>
                  <a:pt x="3913913" y="157294"/>
                  <a:pt x="3893805" y="143536"/>
                  <a:pt x="3889572" y="142478"/>
                </a:cubicBezTo>
                <a:cubicBezTo>
                  <a:pt x="3885338" y="141419"/>
                  <a:pt x="3860997" y="143536"/>
                  <a:pt x="3857823" y="142478"/>
                </a:cubicBezTo>
                <a:cubicBezTo>
                  <a:pt x="3854647" y="141419"/>
                  <a:pt x="3847238" y="127661"/>
                  <a:pt x="3841947" y="126603"/>
                </a:cubicBezTo>
                <a:cubicBezTo>
                  <a:pt x="3836655" y="125544"/>
                  <a:pt x="3783738" y="127661"/>
                  <a:pt x="3778448" y="126603"/>
                </a:cubicBezTo>
                <a:cubicBezTo>
                  <a:pt x="3773156" y="125544"/>
                  <a:pt x="3764689" y="111785"/>
                  <a:pt x="3762573" y="110727"/>
                </a:cubicBezTo>
                <a:cubicBezTo>
                  <a:pt x="3760455" y="109669"/>
                  <a:pt x="3749871" y="111785"/>
                  <a:pt x="3746697" y="110727"/>
                </a:cubicBezTo>
                <a:cubicBezTo>
                  <a:pt x="3743522" y="109669"/>
                  <a:pt x="3721298" y="95911"/>
                  <a:pt x="3714948" y="94853"/>
                </a:cubicBezTo>
                <a:cubicBezTo>
                  <a:pt x="3708598" y="93794"/>
                  <a:pt x="3657797" y="95911"/>
                  <a:pt x="3651447" y="94853"/>
                </a:cubicBezTo>
                <a:cubicBezTo>
                  <a:pt x="3645097" y="93794"/>
                  <a:pt x="3635573" y="80036"/>
                  <a:pt x="3619698" y="78978"/>
                </a:cubicBezTo>
                <a:cubicBezTo>
                  <a:pt x="3603822" y="77919"/>
                  <a:pt x="3428138" y="80036"/>
                  <a:pt x="3413322" y="78978"/>
                </a:cubicBezTo>
                <a:cubicBezTo>
                  <a:pt x="3398506" y="77919"/>
                  <a:pt x="3454598" y="65219"/>
                  <a:pt x="3397448" y="63103"/>
                </a:cubicBezTo>
                <a:cubicBezTo>
                  <a:pt x="3340298" y="60986"/>
                  <a:pt x="2617455" y="48286"/>
                  <a:pt x="2556072" y="47228"/>
                </a:cubicBezTo>
                <a:cubicBezTo>
                  <a:pt x="2494688" y="46169"/>
                  <a:pt x="2484105" y="48286"/>
                  <a:pt x="2476697" y="47228"/>
                </a:cubicBezTo>
                <a:cubicBezTo>
                  <a:pt x="2469289" y="46169"/>
                  <a:pt x="2452355" y="33469"/>
                  <a:pt x="2444947" y="31352"/>
                </a:cubicBezTo>
                <a:cubicBezTo>
                  <a:pt x="2437539" y="29236"/>
                  <a:pt x="2377213" y="16536"/>
                  <a:pt x="2365572" y="15478"/>
                </a:cubicBezTo>
                <a:cubicBezTo>
                  <a:pt x="2353930" y="14419"/>
                  <a:pt x="2278789" y="16536"/>
                  <a:pt x="2270323" y="15478"/>
                </a:cubicBezTo>
                <a:cubicBezTo>
                  <a:pt x="2261856" y="14419"/>
                  <a:pt x="2306306" y="-397"/>
                  <a:pt x="2238572" y="-397"/>
                </a:cubicBezTo>
                <a:cubicBezTo>
                  <a:pt x="2170839" y="-397"/>
                  <a:pt x="1322056" y="14419"/>
                  <a:pt x="1254323" y="15478"/>
                </a:cubicBezTo>
                <a:cubicBezTo>
                  <a:pt x="1186589" y="16536"/>
                  <a:pt x="1226806" y="14419"/>
                  <a:pt x="1222572" y="15478"/>
                </a:cubicBezTo>
                <a:cubicBezTo>
                  <a:pt x="1218339" y="16536"/>
                  <a:pt x="1193997" y="29236"/>
                  <a:pt x="1190822" y="31352"/>
                </a:cubicBezTo>
                <a:cubicBezTo>
                  <a:pt x="1187647" y="33469"/>
                  <a:pt x="1177064" y="46169"/>
                  <a:pt x="1174947" y="47228"/>
                </a:cubicBezTo>
                <a:cubicBezTo>
                  <a:pt x="1172830" y="48286"/>
                  <a:pt x="1161189" y="46169"/>
                  <a:pt x="1159073" y="47228"/>
                </a:cubicBezTo>
                <a:cubicBezTo>
                  <a:pt x="1156955" y="48286"/>
                  <a:pt x="1145314" y="62044"/>
                  <a:pt x="1143197" y="63103"/>
                </a:cubicBezTo>
                <a:cubicBezTo>
                  <a:pt x="1141081" y="64161"/>
                  <a:pt x="1129439" y="62044"/>
                  <a:pt x="1127322" y="63103"/>
                </a:cubicBezTo>
                <a:cubicBezTo>
                  <a:pt x="1125206" y="64161"/>
                  <a:pt x="1115681" y="77919"/>
                  <a:pt x="1111448" y="78978"/>
                </a:cubicBezTo>
                <a:cubicBezTo>
                  <a:pt x="1107214" y="80036"/>
                  <a:pt x="1068056" y="77919"/>
                  <a:pt x="1063823" y="78978"/>
                </a:cubicBezTo>
                <a:cubicBezTo>
                  <a:pt x="1059589" y="80036"/>
                  <a:pt x="1050064" y="92736"/>
                  <a:pt x="1047947" y="94853"/>
                </a:cubicBezTo>
                <a:cubicBezTo>
                  <a:pt x="1045831" y="96969"/>
                  <a:pt x="1034189" y="108610"/>
                  <a:pt x="1032072" y="110727"/>
                </a:cubicBezTo>
                <a:cubicBezTo>
                  <a:pt x="1029955" y="112844"/>
                  <a:pt x="1017256" y="125544"/>
                  <a:pt x="1016198" y="126603"/>
                </a:cubicBezTo>
                <a:cubicBezTo>
                  <a:pt x="1015139" y="127661"/>
                  <a:pt x="1017256" y="125544"/>
                  <a:pt x="1016198" y="126603"/>
                </a:cubicBezTo>
                <a:cubicBezTo>
                  <a:pt x="1015139" y="127661"/>
                  <a:pt x="1002439" y="140361"/>
                  <a:pt x="1000322" y="142478"/>
                </a:cubicBezTo>
                <a:cubicBezTo>
                  <a:pt x="998206" y="144594"/>
                  <a:pt x="986564" y="156235"/>
                  <a:pt x="984447" y="158352"/>
                </a:cubicBezTo>
                <a:cubicBezTo>
                  <a:pt x="982331" y="160469"/>
                  <a:pt x="970689" y="172111"/>
                  <a:pt x="968572" y="174228"/>
                </a:cubicBezTo>
                <a:cubicBezTo>
                  <a:pt x="966456" y="176344"/>
                  <a:pt x="954814" y="187986"/>
                  <a:pt x="952697" y="190103"/>
                </a:cubicBezTo>
                <a:cubicBezTo>
                  <a:pt x="950581" y="192219"/>
                  <a:pt x="938939" y="203861"/>
                  <a:pt x="936822" y="205977"/>
                </a:cubicBezTo>
                <a:cubicBezTo>
                  <a:pt x="934706" y="208094"/>
                  <a:pt x="923064" y="219736"/>
                  <a:pt x="920948" y="221852"/>
                </a:cubicBezTo>
                <a:cubicBezTo>
                  <a:pt x="918831" y="223969"/>
                  <a:pt x="906131" y="235611"/>
                  <a:pt x="905072" y="237728"/>
                </a:cubicBezTo>
                <a:cubicBezTo>
                  <a:pt x="904014" y="239844"/>
                  <a:pt x="906131" y="251485"/>
                  <a:pt x="905072" y="253602"/>
                </a:cubicBezTo>
                <a:cubicBezTo>
                  <a:pt x="904014" y="255719"/>
                  <a:pt x="890255" y="268419"/>
                  <a:pt x="889197" y="269478"/>
                </a:cubicBezTo>
                <a:cubicBezTo>
                  <a:pt x="888139" y="270535"/>
                  <a:pt x="890255" y="268419"/>
                  <a:pt x="889197" y="269478"/>
                </a:cubicBezTo>
                <a:cubicBezTo>
                  <a:pt x="888139" y="270535"/>
                  <a:pt x="874381" y="283236"/>
                  <a:pt x="873323" y="285353"/>
                </a:cubicBezTo>
                <a:cubicBezTo>
                  <a:pt x="872264" y="287469"/>
                  <a:pt x="874381" y="299110"/>
                  <a:pt x="873323" y="301227"/>
                </a:cubicBezTo>
                <a:cubicBezTo>
                  <a:pt x="872264" y="303344"/>
                  <a:pt x="858506" y="314986"/>
                  <a:pt x="857447" y="317103"/>
                </a:cubicBezTo>
                <a:cubicBezTo>
                  <a:pt x="856389" y="319219"/>
                  <a:pt x="858506" y="330861"/>
                  <a:pt x="857447" y="332978"/>
                </a:cubicBezTo>
                <a:cubicBezTo>
                  <a:pt x="856389" y="335094"/>
                  <a:pt x="843689" y="346736"/>
                  <a:pt x="841572" y="348852"/>
                </a:cubicBezTo>
                <a:cubicBezTo>
                  <a:pt x="839456" y="350969"/>
                  <a:pt x="827814" y="361552"/>
                  <a:pt x="825698" y="364727"/>
                </a:cubicBezTo>
                <a:cubicBezTo>
                  <a:pt x="823581" y="367902"/>
                  <a:pt x="811939" y="392244"/>
                  <a:pt x="809822" y="396477"/>
                </a:cubicBezTo>
                <a:cubicBezTo>
                  <a:pt x="807706" y="400710"/>
                  <a:pt x="796064" y="423994"/>
                  <a:pt x="793947" y="428228"/>
                </a:cubicBezTo>
                <a:cubicBezTo>
                  <a:pt x="791831" y="432461"/>
                  <a:pt x="779131" y="456803"/>
                  <a:pt x="778073" y="459978"/>
                </a:cubicBezTo>
                <a:cubicBezTo>
                  <a:pt x="777014" y="463152"/>
                  <a:pt x="778073" y="474794"/>
                  <a:pt x="778073" y="475853"/>
                </a:cubicBezTo>
              </a:path>
            </a:pathLst>
          </a:custGeom>
          <a:solidFill>
            <a:schemeClr val="accent2">
              <a:alpha val="50000"/>
            </a:schemeClr>
          </a:solidFill>
          <a:ln algn="ctr">
            <a:noFill/>
          </a:ln>
        </p:spPr>
        <p:style>
          <a:lnRef idx="2">
            <a:schemeClr val="accent2">
              <a:shade val="2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p>
            <a:pPr algn="ctr">
              <a:defRPr lang="ko-KR" altLang="en-US"/>
            </a:pPr>
            <a:endParaRPr lang="en-US" altLang="ko-KR"/>
          </a:p>
        </p:txBody>
      </p:sp>
      <p:cxnSp>
        <p:nvCxnSpPr>
          <p:cNvPr id="267" name=""/>
          <p:cNvCxnSpPr>
            <a:stCxn id="254" idx="1"/>
            <a:endCxn id="254" idx="3"/>
          </p:cNvCxnSpPr>
          <p:nvPr/>
        </p:nvCxnSpPr>
        <p:spPr>
          <a:xfrm>
            <a:off x="8088165" y="2837815"/>
            <a:ext cx="3621174" cy="0"/>
          </a:xfrm>
          <a:prstGeom prst="line">
            <a:avLst/>
          </a:prstGeom>
          <a:ln algn="ctr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8" name=""/>
          <p:cNvPicPr>
            <a:picLocks noChangeAspect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7688262" y="4348445"/>
            <a:ext cx="4276726" cy="1747879"/>
          </a:xfrm>
          <a:prstGeom prst="rect">
            <a:avLst/>
          </a:prstGeom>
        </p:spPr>
      </p:pic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" grpId="0" bldLvl="0" animBg="1" autoUpdateAnimBg="1"/>
      <p:bldP spid="255" grpId="1" bldLvl="0" animBg="1" autoUpdateAnimBg="1"/>
      <p:bldP spid="267" grpId="2" bldLvl="0" animBg="1" autoUpdateAnimBg="1"/>
    </p:bldLst>
  </p:timing>
</p:sld>
</file>

<file path=ppt/slides/slide1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009437" y="288779"/>
            <a:ext cx="36730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난방 시스템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Rectangle 22"/>
          <p:cNvSpPr/>
          <p:nvPr/>
        </p:nvSpPr>
        <p:spPr>
          <a:xfrm>
            <a:off x="0" y="5138494"/>
            <a:ext cx="12192000" cy="17195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pic>
        <p:nvPicPr>
          <p:cNvPr id="240" name="그림 39"/>
          <p:cNvPicPr>
            <a:picLocks noChangeAspect="1"/>
          </p:cNvPicPr>
          <p:nvPr/>
        </p:nvPicPr>
        <p:blipFill rotWithShape="1">
          <a:blip r:embed="rId2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  <p:pic>
        <p:nvPicPr>
          <p:cNvPr id="249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657223" y="1354136"/>
            <a:ext cx="6826249" cy="5119687"/>
          </a:xfrm>
          <a:prstGeom prst="rect">
            <a:avLst/>
          </a:prstGeom>
        </p:spPr>
      </p:pic>
      <p:pic>
        <p:nvPicPr>
          <p:cNvPr id="252" name=""/>
          <p:cNvPicPr>
            <a:picLocks noChangeAspect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7688262" y="4348445"/>
            <a:ext cx="4276726" cy="1747879"/>
          </a:xfrm>
          <a:prstGeom prst="rect">
            <a:avLst/>
          </a:prstGeom>
        </p:spPr>
      </p:pic>
      <p:sp>
        <p:nvSpPr>
          <p:cNvPr id="253" name="TextBox 18"/>
          <p:cNvSpPr txBox="1"/>
          <p:nvPr/>
        </p:nvSpPr>
        <p:spPr>
          <a:xfrm>
            <a:off x="8799359" y="1423145"/>
            <a:ext cx="2144800" cy="575200"/>
          </a:xfrm>
          <a:prstGeom prst="rect">
            <a:avLst/>
          </a:prstGeom>
          <a:noFill/>
        </p:spPr>
        <p:txBody>
          <a:bodyPr vert="horz" wrap="square" lIns="91440" tIns="45720" rIns="91440" bIns="45720" anchor="t">
            <a:spAutoFit/>
          </a:bodyPr>
          <a:lstStyle/>
          <a:p>
            <a:pPr algn="just">
              <a:defRPr lang="ko-KR" altLang="en-US"/>
            </a:pPr>
            <a:r>
              <a:rPr lang="ko-KR" altLang="en-US" sz="3200" b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76200" dist="76200" dir="2700000" algn="ctr" rotWithShape="0">
                    <a:srgbClr val="000000">
                      <a:alpha val="50000"/>
                    </a:srgbClr>
                  </a:outerShdw>
                </a:effectLst>
                <a:latin typeface="Arial"/>
                <a:cs typeface="Arial"/>
              </a:rPr>
              <a:t>동작 과정</a:t>
            </a:r>
            <a:endParaRPr lang="ko-KR" altLang="en-US" sz="3200" b="1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76200" dist="76200" dir="2700000" algn="ctr" rotWithShape="0">
                  <a:srgbClr val="000000">
                    <a:alpha val="50000"/>
                  </a:srgbClr>
                </a:outerShdw>
              </a:effectLst>
              <a:latin typeface="Arial"/>
              <a:cs typeface="Arial"/>
            </a:endParaRPr>
          </a:p>
        </p:txBody>
      </p:sp>
      <p:sp>
        <p:nvSpPr>
          <p:cNvPr id="254" name="TextBox 18"/>
          <p:cNvSpPr txBox="1"/>
          <p:nvPr/>
        </p:nvSpPr>
        <p:spPr>
          <a:xfrm>
            <a:off x="8088163" y="2246630"/>
            <a:ext cx="3621176" cy="11823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lang="ko-KR" altLang="en-US"/>
            </a:pPr>
            <a:r>
              <a:rPr lang="ko-KR" alt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①</a:t>
            </a:r>
            <a:r>
              <a:rPr lang="ko-KR" altLang="en-US" sz="29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20도 이하 = 열선 </a:t>
            </a:r>
            <a:r>
              <a:rPr lang="en-US" altLang="ko-KR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ON</a:t>
            </a:r>
            <a:endParaRPr lang="en-US" altLang="ko-KR" sz="24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just">
              <a:defRPr lang="ko-KR" altLang="en-US"/>
            </a:pPr>
            <a:endParaRPr lang="ko-KR" altLang="en-US" sz="15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just">
              <a:defRPr lang="ko-KR" altLang="en-US"/>
            </a:pPr>
            <a:r>
              <a:rPr lang="ko-KR" alt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②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</a:t>
            </a:r>
            <a:r>
              <a:rPr lang="en-US" altLang="ko-KR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25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도 이상 = 열선 </a:t>
            </a:r>
            <a:r>
              <a:rPr lang="en-US" altLang="ko-KR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OFF</a:t>
            </a:r>
            <a:endParaRPr lang="en-US" altLang="ko-KR" sz="24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55" name=""/>
          <p:cNvSpPr/>
          <p:nvPr/>
        </p:nvSpPr>
        <p:spPr>
          <a:xfrm>
            <a:off x="5382350" y="2239550"/>
            <a:ext cx="665300" cy="665300"/>
          </a:xfrm>
          <a:prstGeom prst="ellipse">
            <a:avLst/>
          </a:prstGeom>
          <a:noFill/>
          <a:ln w="63500" algn="ctr">
            <a:solidFill>
              <a:srgbClr val="42c7f1"/>
            </a:solidFill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p>
            <a:pPr algn="ctr">
              <a:defRPr lang="ko-KR" altLang="en-US"/>
            </a:pPr>
            <a:endParaRPr lang="en-US" altLang="ko-KR"/>
          </a:p>
        </p:txBody>
      </p:sp>
      <p:sp>
        <p:nvSpPr>
          <p:cNvPr id="266" name=""/>
          <p:cNvSpPr/>
          <p:nvPr/>
        </p:nvSpPr>
        <p:spPr>
          <a:xfrm>
            <a:off x="1411200" y="3510000"/>
            <a:ext cx="6051600" cy="3002400"/>
          </a:xfrm>
          <a:custGeom>
            <a:avLst/>
            <a:gdLst>
              <a:gd name="connsiteX0" fmla="*/ 778073 w 6050161"/>
              <a:gd name="connsiteY0" fmla="*/ 364727 h 3001566"/>
              <a:gd name="connsiteX1" fmla="*/ 778073 w 6050161"/>
              <a:gd name="connsiteY1" fmla="*/ 475853 h 3001566"/>
              <a:gd name="connsiteX2" fmla="*/ 762197 w 6050161"/>
              <a:gd name="connsiteY2" fmla="*/ 491727 h 3001566"/>
              <a:gd name="connsiteX3" fmla="*/ 762197 w 6050161"/>
              <a:gd name="connsiteY3" fmla="*/ 539352 h 3001566"/>
              <a:gd name="connsiteX4" fmla="*/ 746322 w 6050161"/>
              <a:gd name="connsiteY4" fmla="*/ 555228 h 3001566"/>
              <a:gd name="connsiteX5" fmla="*/ 730448 w 6050161"/>
              <a:gd name="connsiteY5" fmla="*/ 602853 h 3001566"/>
              <a:gd name="connsiteX6" fmla="*/ 730448 w 6050161"/>
              <a:gd name="connsiteY6" fmla="*/ 650477 h 3001566"/>
              <a:gd name="connsiteX7" fmla="*/ 714572 w 6050161"/>
              <a:gd name="connsiteY7" fmla="*/ 666353 h 3001566"/>
              <a:gd name="connsiteX8" fmla="*/ 714572 w 6050161"/>
              <a:gd name="connsiteY8" fmla="*/ 682227 h 3001566"/>
              <a:gd name="connsiteX9" fmla="*/ 682822 w 6050161"/>
              <a:gd name="connsiteY9" fmla="*/ 698102 h 3001566"/>
              <a:gd name="connsiteX10" fmla="*/ 666947 w 6050161"/>
              <a:gd name="connsiteY10" fmla="*/ 729852 h 3001566"/>
              <a:gd name="connsiteX11" fmla="*/ 651072 w 6050161"/>
              <a:gd name="connsiteY11" fmla="*/ 761602 h 3001566"/>
              <a:gd name="connsiteX12" fmla="*/ 651072 w 6050161"/>
              <a:gd name="connsiteY12" fmla="*/ 793352 h 3001566"/>
              <a:gd name="connsiteX13" fmla="*/ 635198 w 6050161"/>
              <a:gd name="connsiteY13" fmla="*/ 809227 h 3001566"/>
              <a:gd name="connsiteX14" fmla="*/ 619322 w 6050161"/>
              <a:gd name="connsiteY14" fmla="*/ 825102 h 3001566"/>
              <a:gd name="connsiteX15" fmla="*/ 619322 w 6050161"/>
              <a:gd name="connsiteY15" fmla="*/ 856852 h 3001566"/>
              <a:gd name="connsiteX16" fmla="*/ 603447 w 6050161"/>
              <a:gd name="connsiteY16" fmla="*/ 872727 h 3001566"/>
              <a:gd name="connsiteX17" fmla="*/ 603447 w 6050161"/>
              <a:gd name="connsiteY17" fmla="*/ 888602 h 3001566"/>
              <a:gd name="connsiteX18" fmla="*/ 587573 w 6050161"/>
              <a:gd name="connsiteY18" fmla="*/ 904477 h 3001566"/>
              <a:gd name="connsiteX19" fmla="*/ 587573 w 6050161"/>
              <a:gd name="connsiteY19" fmla="*/ 920352 h 3001566"/>
              <a:gd name="connsiteX20" fmla="*/ 571697 w 6050161"/>
              <a:gd name="connsiteY20" fmla="*/ 936227 h 3001566"/>
              <a:gd name="connsiteX21" fmla="*/ 555823 w 6050161"/>
              <a:gd name="connsiteY21" fmla="*/ 952102 h 3001566"/>
              <a:gd name="connsiteX22" fmla="*/ 539947 w 6050161"/>
              <a:gd name="connsiteY22" fmla="*/ 983852 h 3001566"/>
              <a:gd name="connsiteX23" fmla="*/ 539947 w 6050161"/>
              <a:gd name="connsiteY23" fmla="*/ 983852 h 3001566"/>
              <a:gd name="connsiteX24" fmla="*/ 524072 w 6050161"/>
              <a:gd name="connsiteY24" fmla="*/ 999727 h 3001566"/>
              <a:gd name="connsiteX25" fmla="*/ 508197 w 6050161"/>
              <a:gd name="connsiteY25" fmla="*/ 1015602 h 3001566"/>
              <a:gd name="connsiteX26" fmla="*/ 492322 w 6050161"/>
              <a:gd name="connsiteY26" fmla="*/ 1031477 h 3001566"/>
              <a:gd name="connsiteX27" fmla="*/ 476447 w 6050161"/>
              <a:gd name="connsiteY27" fmla="*/ 1047352 h 3001566"/>
              <a:gd name="connsiteX28" fmla="*/ 476447 w 6050161"/>
              <a:gd name="connsiteY28" fmla="*/ 1063227 h 3001566"/>
              <a:gd name="connsiteX29" fmla="*/ 460572 w 6050161"/>
              <a:gd name="connsiteY29" fmla="*/ 1079102 h 3001566"/>
              <a:gd name="connsiteX30" fmla="*/ 444698 w 6050161"/>
              <a:gd name="connsiteY30" fmla="*/ 1079102 h 3001566"/>
              <a:gd name="connsiteX31" fmla="*/ 428822 w 6050161"/>
              <a:gd name="connsiteY31" fmla="*/ 1094977 h 3001566"/>
              <a:gd name="connsiteX32" fmla="*/ 397073 w 6050161"/>
              <a:gd name="connsiteY32" fmla="*/ 1110852 h 3001566"/>
              <a:gd name="connsiteX33" fmla="*/ 397073 w 6050161"/>
              <a:gd name="connsiteY33" fmla="*/ 1110852 h 3001566"/>
              <a:gd name="connsiteX34" fmla="*/ 381197 w 6050161"/>
              <a:gd name="connsiteY34" fmla="*/ 1126727 h 3001566"/>
              <a:gd name="connsiteX35" fmla="*/ 365322 w 6050161"/>
              <a:gd name="connsiteY35" fmla="*/ 1142602 h 3001566"/>
              <a:gd name="connsiteX36" fmla="*/ 365322 w 6050161"/>
              <a:gd name="connsiteY36" fmla="*/ 1142602 h 3001566"/>
              <a:gd name="connsiteX37" fmla="*/ 349448 w 6050161"/>
              <a:gd name="connsiteY37" fmla="*/ 1158477 h 3001566"/>
              <a:gd name="connsiteX38" fmla="*/ 333572 w 6050161"/>
              <a:gd name="connsiteY38" fmla="*/ 1174352 h 3001566"/>
              <a:gd name="connsiteX39" fmla="*/ 317697 w 6050161"/>
              <a:gd name="connsiteY39" fmla="*/ 1221977 h 3001566"/>
              <a:gd name="connsiteX40" fmla="*/ 317697 w 6050161"/>
              <a:gd name="connsiteY40" fmla="*/ 1269602 h 3001566"/>
              <a:gd name="connsiteX41" fmla="*/ 301823 w 6050161"/>
              <a:gd name="connsiteY41" fmla="*/ 1285477 h 3001566"/>
              <a:gd name="connsiteX42" fmla="*/ 285947 w 6050161"/>
              <a:gd name="connsiteY42" fmla="*/ 1301352 h 3001566"/>
              <a:gd name="connsiteX43" fmla="*/ 285947 w 6050161"/>
              <a:gd name="connsiteY43" fmla="*/ 1317227 h 3001566"/>
              <a:gd name="connsiteX44" fmla="*/ 270072 w 6050161"/>
              <a:gd name="connsiteY44" fmla="*/ 1333102 h 3001566"/>
              <a:gd name="connsiteX45" fmla="*/ 270072 w 6050161"/>
              <a:gd name="connsiteY45" fmla="*/ 1348977 h 3001566"/>
              <a:gd name="connsiteX46" fmla="*/ 254198 w 6050161"/>
              <a:gd name="connsiteY46" fmla="*/ 1364852 h 3001566"/>
              <a:gd name="connsiteX47" fmla="*/ 238322 w 6050161"/>
              <a:gd name="connsiteY47" fmla="*/ 1380727 h 3001566"/>
              <a:gd name="connsiteX48" fmla="*/ 222447 w 6050161"/>
              <a:gd name="connsiteY48" fmla="*/ 1380727 h 3001566"/>
              <a:gd name="connsiteX49" fmla="*/ 206573 w 6050161"/>
              <a:gd name="connsiteY49" fmla="*/ 1396602 h 3001566"/>
              <a:gd name="connsiteX50" fmla="*/ 174822 w 6050161"/>
              <a:gd name="connsiteY50" fmla="*/ 1412477 h 3001566"/>
              <a:gd name="connsiteX51" fmla="*/ 174822 w 6050161"/>
              <a:gd name="connsiteY51" fmla="*/ 1412477 h 3001566"/>
              <a:gd name="connsiteX52" fmla="*/ 158948 w 6050161"/>
              <a:gd name="connsiteY52" fmla="*/ 1428352 h 3001566"/>
              <a:gd name="connsiteX53" fmla="*/ 127197 w 6050161"/>
              <a:gd name="connsiteY53" fmla="*/ 1444227 h 3001566"/>
              <a:gd name="connsiteX54" fmla="*/ 127197 w 6050161"/>
              <a:gd name="connsiteY54" fmla="*/ 1444227 h 3001566"/>
              <a:gd name="connsiteX55" fmla="*/ 111323 w 6050161"/>
              <a:gd name="connsiteY55" fmla="*/ 1460102 h 3001566"/>
              <a:gd name="connsiteX56" fmla="*/ 95447 w 6050161"/>
              <a:gd name="connsiteY56" fmla="*/ 1475977 h 3001566"/>
              <a:gd name="connsiteX57" fmla="*/ 63697 w 6050161"/>
              <a:gd name="connsiteY57" fmla="*/ 1491852 h 3001566"/>
              <a:gd name="connsiteX58" fmla="*/ 47822 w 6050161"/>
              <a:gd name="connsiteY58" fmla="*/ 1507727 h 3001566"/>
              <a:gd name="connsiteX59" fmla="*/ 31947 w 6050161"/>
              <a:gd name="connsiteY59" fmla="*/ 1523602 h 3001566"/>
              <a:gd name="connsiteX60" fmla="*/ 31947 w 6050161"/>
              <a:gd name="connsiteY60" fmla="*/ 1571227 h 3001566"/>
              <a:gd name="connsiteX61" fmla="*/ 16073 w 6050161"/>
              <a:gd name="connsiteY61" fmla="*/ 1587102 h 3001566"/>
              <a:gd name="connsiteX62" fmla="*/ 16073 w 6050161"/>
              <a:gd name="connsiteY62" fmla="*/ 1587102 h 3001566"/>
              <a:gd name="connsiteX63" fmla="*/ 197 w 6050161"/>
              <a:gd name="connsiteY63" fmla="*/ 1602977 h 3001566"/>
              <a:gd name="connsiteX64" fmla="*/ 197 w 6050161"/>
              <a:gd name="connsiteY64" fmla="*/ 1666477 h 3001566"/>
              <a:gd name="connsiteX65" fmla="*/ 16073 w 6050161"/>
              <a:gd name="connsiteY65" fmla="*/ 1682352 h 3001566"/>
              <a:gd name="connsiteX66" fmla="*/ 31947 w 6050161"/>
              <a:gd name="connsiteY66" fmla="*/ 1745852 h 3001566"/>
              <a:gd name="connsiteX67" fmla="*/ 47822 w 6050161"/>
              <a:gd name="connsiteY67" fmla="*/ 1793477 h 3001566"/>
              <a:gd name="connsiteX68" fmla="*/ 47822 w 6050161"/>
              <a:gd name="connsiteY68" fmla="*/ 2555477 h 3001566"/>
              <a:gd name="connsiteX69" fmla="*/ 63697 w 6050161"/>
              <a:gd name="connsiteY69" fmla="*/ 2571352 h 3001566"/>
              <a:gd name="connsiteX70" fmla="*/ 79572 w 6050161"/>
              <a:gd name="connsiteY70" fmla="*/ 2618977 h 3001566"/>
              <a:gd name="connsiteX71" fmla="*/ 79572 w 6050161"/>
              <a:gd name="connsiteY71" fmla="*/ 2650727 h 3001566"/>
              <a:gd name="connsiteX72" fmla="*/ 95447 w 6050161"/>
              <a:gd name="connsiteY72" fmla="*/ 2666602 h 3001566"/>
              <a:gd name="connsiteX73" fmla="*/ 111323 w 6050161"/>
              <a:gd name="connsiteY73" fmla="*/ 2698352 h 3001566"/>
              <a:gd name="connsiteX74" fmla="*/ 111323 w 6050161"/>
              <a:gd name="connsiteY74" fmla="*/ 2745977 h 3001566"/>
              <a:gd name="connsiteX75" fmla="*/ 127197 w 6050161"/>
              <a:gd name="connsiteY75" fmla="*/ 2761852 h 3001566"/>
              <a:gd name="connsiteX76" fmla="*/ 111323 w 6050161"/>
              <a:gd name="connsiteY76" fmla="*/ 2904727 h 3001566"/>
              <a:gd name="connsiteX77" fmla="*/ 238322 w 6050161"/>
              <a:gd name="connsiteY77" fmla="*/ 2904727 h 3001566"/>
              <a:gd name="connsiteX78" fmla="*/ 254198 w 6050161"/>
              <a:gd name="connsiteY78" fmla="*/ 2920602 h 3001566"/>
              <a:gd name="connsiteX79" fmla="*/ 587573 w 6050161"/>
              <a:gd name="connsiteY79" fmla="*/ 2920602 h 3001566"/>
              <a:gd name="connsiteX80" fmla="*/ 635198 w 6050161"/>
              <a:gd name="connsiteY80" fmla="*/ 2936477 h 3001566"/>
              <a:gd name="connsiteX81" fmla="*/ 682822 w 6050161"/>
              <a:gd name="connsiteY81" fmla="*/ 2936477 h 3001566"/>
              <a:gd name="connsiteX82" fmla="*/ 730448 w 6050161"/>
              <a:gd name="connsiteY82" fmla="*/ 2952352 h 3001566"/>
              <a:gd name="connsiteX83" fmla="*/ 1397197 w 6050161"/>
              <a:gd name="connsiteY83" fmla="*/ 2936477 h 3001566"/>
              <a:gd name="connsiteX84" fmla="*/ 1555947 w 6050161"/>
              <a:gd name="connsiteY84" fmla="*/ 2920602 h 3001566"/>
              <a:gd name="connsiteX85" fmla="*/ 2127447 w 6050161"/>
              <a:gd name="connsiteY85" fmla="*/ 2920602 h 3001566"/>
              <a:gd name="connsiteX86" fmla="*/ 2175072 w 6050161"/>
              <a:gd name="connsiteY86" fmla="*/ 2936477 h 3001566"/>
              <a:gd name="connsiteX87" fmla="*/ 2206822 w 6050161"/>
              <a:gd name="connsiteY87" fmla="*/ 2936477 h 3001566"/>
              <a:gd name="connsiteX88" fmla="*/ 2238572 w 6050161"/>
              <a:gd name="connsiteY88" fmla="*/ 2952352 h 3001566"/>
              <a:gd name="connsiteX89" fmla="*/ 2540198 w 6050161"/>
              <a:gd name="connsiteY89" fmla="*/ 2952352 h 3001566"/>
              <a:gd name="connsiteX90" fmla="*/ 2603697 w 6050161"/>
              <a:gd name="connsiteY90" fmla="*/ 2968227 h 3001566"/>
              <a:gd name="connsiteX91" fmla="*/ 2698947 w 6050161"/>
              <a:gd name="connsiteY91" fmla="*/ 2968227 h 3001566"/>
              <a:gd name="connsiteX92" fmla="*/ 2762447 w 6050161"/>
              <a:gd name="connsiteY92" fmla="*/ 2999977 h 3001566"/>
              <a:gd name="connsiteX93" fmla="*/ 3460947 w 6050161"/>
              <a:gd name="connsiteY93" fmla="*/ 2999977 h 3001566"/>
              <a:gd name="connsiteX94" fmla="*/ 3476823 w 6050161"/>
              <a:gd name="connsiteY94" fmla="*/ 2984102 h 3001566"/>
              <a:gd name="connsiteX95" fmla="*/ 3699072 w 6050161"/>
              <a:gd name="connsiteY95" fmla="*/ 2984102 h 3001566"/>
              <a:gd name="connsiteX96" fmla="*/ 3714948 w 6050161"/>
              <a:gd name="connsiteY96" fmla="*/ 2968227 h 3001566"/>
              <a:gd name="connsiteX97" fmla="*/ 3778448 w 6050161"/>
              <a:gd name="connsiteY97" fmla="*/ 2968227 h 3001566"/>
              <a:gd name="connsiteX98" fmla="*/ 3810197 w 6050161"/>
              <a:gd name="connsiteY98" fmla="*/ 2952352 h 3001566"/>
              <a:gd name="connsiteX99" fmla="*/ 3889572 w 6050161"/>
              <a:gd name="connsiteY99" fmla="*/ 2952352 h 3001566"/>
              <a:gd name="connsiteX100" fmla="*/ 3905448 w 6050161"/>
              <a:gd name="connsiteY100" fmla="*/ 2936477 h 3001566"/>
              <a:gd name="connsiteX101" fmla="*/ 5683447 w 6050161"/>
              <a:gd name="connsiteY101" fmla="*/ 2936477 h 3001566"/>
              <a:gd name="connsiteX102" fmla="*/ 5715197 w 6050161"/>
              <a:gd name="connsiteY102" fmla="*/ 2952352 h 3001566"/>
              <a:gd name="connsiteX103" fmla="*/ 5762823 w 6050161"/>
              <a:gd name="connsiteY103" fmla="*/ 2952352 h 3001566"/>
              <a:gd name="connsiteX104" fmla="*/ 5810447 w 6050161"/>
              <a:gd name="connsiteY104" fmla="*/ 2968227 h 3001566"/>
              <a:gd name="connsiteX105" fmla="*/ 6000947 w 6050161"/>
              <a:gd name="connsiteY105" fmla="*/ 2952352 h 3001566"/>
              <a:gd name="connsiteX106" fmla="*/ 6016822 w 6050161"/>
              <a:gd name="connsiteY106" fmla="*/ 2936477 h 3001566"/>
              <a:gd name="connsiteX107" fmla="*/ 6048572 w 6050161"/>
              <a:gd name="connsiteY107" fmla="*/ 2920602 h 3001566"/>
              <a:gd name="connsiteX108" fmla="*/ 6032697 w 6050161"/>
              <a:gd name="connsiteY108" fmla="*/ 2761852 h 3001566"/>
              <a:gd name="connsiteX109" fmla="*/ 6032697 w 6050161"/>
              <a:gd name="connsiteY109" fmla="*/ 2682477 h 3001566"/>
              <a:gd name="connsiteX110" fmla="*/ 6016822 w 6050161"/>
              <a:gd name="connsiteY110" fmla="*/ 2666602 h 3001566"/>
              <a:gd name="connsiteX111" fmla="*/ 6000947 w 6050161"/>
              <a:gd name="connsiteY111" fmla="*/ 2603102 h 3001566"/>
              <a:gd name="connsiteX112" fmla="*/ 6000947 w 6050161"/>
              <a:gd name="connsiteY112" fmla="*/ 2555477 h 3001566"/>
              <a:gd name="connsiteX113" fmla="*/ 5985073 w 6050161"/>
              <a:gd name="connsiteY113" fmla="*/ 2523727 h 3001566"/>
              <a:gd name="connsiteX114" fmla="*/ 5985073 w 6050161"/>
              <a:gd name="connsiteY114" fmla="*/ 2507852 h 3001566"/>
              <a:gd name="connsiteX115" fmla="*/ 5969198 w 6050161"/>
              <a:gd name="connsiteY115" fmla="*/ 2476102 h 3001566"/>
              <a:gd name="connsiteX116" fmla="*/ 5953323 w 6050161"/>
              <a:gd name="connsiteY116" fmla="*/ 2396727 h 3001566"/>
              <a:gd name="connsiteX117" fmla="*/ 5953323 w 6050161"/>
              <a:gd name="connsiteY117" fmla="*/ 2317352 h 3001566"/>
              <a:gd name="connsiteX118" fmla="*/ 5969198 w 6050161"/>
              <a:gd name="connsiteY118" fmla="*/ 2301477 h 3001566"/>
              <a:gd name="connsiteX119" fmla="*/ 5969198 w 6050161"/>
              <a:gd name="connsiteY119" fmla="*/ 2253852 h 3001566"/>
              <a:gd name="connsiteX120" fmla="*/ 5985073 w 6050161"/>
              <a:gd name="connsiteY120" fmla="*/ 2237978 h 3001566"/>
              <a:gd name="connsiteX121" fmla="*/ 6000947 w 6050161"/>
              <a:gd name="connsiteY121" fmla="*/ 2110977 h 3001566"/>
              <a:gd name="connsiteX122" fmla="*/ 6016822 w 6050161"/>
              <a:gd name="connsiteY122" fmla="*/ 2063352 h 3001566"/>
              <a:gd name="connsiteX123" fmla="*/ 6016822 w 6050161"/>
              <a:gd name="connsiteY123" fmla="*/ 1983977 h 3001566"/>
              <a:gd name="connsiteX124" fmla="*/ 6032697 w 6050161"/>
              <a:gd name="connsiteY124" fmla="*/ 1968102 h 3001566"/>
              <a:gd name="connsiteX125" fmla="*/ 6032697 w 6050161"/>
              <a:gd name="connsiteY125" fmla="*/ 1825227 h 3001566"/>
              <a:gd name="connsiteX126" fmla="*/ 6048572 w 6050161"/>
              <a:gd name="connsiteY126" fmla="*/ 1793477 h 3001566"/>
              <a:gd name="connsiteX127" fmla="*/ 6048572 w 6050161"/>
              <a:gd name="connsiteY127" fmla="*/ 1650602 h 3001566"/>
              <a:gd name="connsiteX128" fmla="*/ 6032697 w 6050161"/>
              <a:gd name="connsiteY128" fmla="*/ 1634727 h 3001566"/>
              <a:gd name="connsiteX129" fmla="*/ 6032697 w 6050161"/>
              <a:gd name="connsiteY129" fmla="*/ 1460102 h 3001566"/>
              <a:gd name="connsiteX130" fmla="*/ 6016822 w 6050161"/>
              <a:gd name="connsiteY130" fmla="*/ 1444227 h 3001566"/>
              <a:gd name="connsiteX131" fmla="*/ 6016822 w 6050161"/>
              <a:gd name="connsiteY131" fmla="*/ 1380727 h 3001566"/>
              <a:gd name="connsiteX132" fmla="*/ 6000947 w 6050161"/>
              <a:gd name="connsiteY132" fmla="*/ 1364852 h 3001566"/>
              <a:gd name="connsiteX133" fmla="*/ 5985073 w 6050161"/>
              <a:gd name="connsiteY133" fmla="*/ 1301352 h 3001566"/>
              <a:gd name="connsiteX134" fmla="*/ 5985073 w 6050161"/>
              <a:gd name="connsiteY134" fmla="*/ 1206102 h 3001566"/>
              <a:gd name="connsiteX135" fmla="*/ 5969198 w 6050161"/>
              <a:gd name="connsiteY135" fmla="*/ 1190227 h 3001566"/>
              <a:gd name="connsiteX136" fmla="*/ 5953323 w 6050161"/>
              <a:gd name="connsiteY136" fmla="*/ 1079102 h 3001566"/>
              <a:gd name="connsiteX137" fmla="*/ 5953323 w 6050161"/>
              <a:gd name="connsiteY137" fmla="*/ 1063227 h 3001566"/>
              <a:gd name="connsiteX138" fmla="*/ 5937448 w 6050161"/>
              <a:gd name="connsiteY138" fmla="*/ 1047352 h 3001566"/>
              <a:gd name="connsiteX139" fmla="*/ 5937448 w 6050161"/>
              <a:gd name="connsiteY139" fmla="*/ 1047352 h 3001566"/>
              <a:gd name="connsiteX140" fmla="*/ 5921572 w 6050161"/>
              <a:gd name="connsiteY140" fmla="*/ 1031477 h 3001566"/>
              <a:gd name="connsiteX141" fmla="*/ 5905697 w 6050161"/>
              <a:gd name="connsiteY141" fmla="*/ 1015602 h 3001566"/>
              <a:gd name="connsiteX142" fmla="*/ 5905697 w 6050161"/>
              <a:gd name="connsiteY142" fmla="*/ 1015602 h 3001566"/>
              <a:gd name="connsiteX143" fmla="*/ 5889823 w 6050161"/>
              <a:gd name="connsiteY143" fmla="*/ 999727 h 3001566"/>
              <a:gd name="connsiteX144" fmla="*/ 5889823 w 6050161"/>
              <a:gd name="connsiteY144" fmla="*/ 999727 h 3001566"/>
              <a:gd name="connsiteX145" fmla="*/ 5873947 w 6050161"/>
              <a:gd name="connsiteY145" fmla="*/ 983852 h 3001566"/>
              <a:gd name="connsiteX146" fmla="*/ 5858073 w 6050161"/>
              <a:gd name="connsiteY146" fmla="*/ 983852 h 3001566"/>
              <a:gd name="connsiteX147" fmla="*/ 5842197 w 6050161"/>
              <a:gd name="connsiteY147" fmla="*/ 967977 h 3001566"/>
              <a:gd name="connsiteX148" fmla="*/ 5826322 w 6050161"/>
              <a:gd name="connsiteY148" fmla="*/ 967977 h 3001566"/>
              <a:gd name="connsiteX149" fmla="*/ 5810447 w 6050161"/>
              <a:gd name="connsiteY149" fmla="*/ 952102 h 3001566"/>
              <a:gd name="connsiteX150" fmla="*/ 5794573 w 6050161"/>
              <a:gd name="connsiteY150" fmla="*/ 952102 h 3001566"/>
              <a:gd name="connsiteX151" fmla="*/ 5778697 w 6050161"/>
              <a:gd name="connsiteY151" fmla="*/ 936227 h 3001566"/>
              <a:gd name="connsiteX152" fmla="*/ 5762823 w 6050161"/>
              <a:gd name="connsiteY152" fmla="*/ 936227 h 3001566"/>
              <a:gd name="connsiteX153" fmla="*/ 5746947 w 6050161"/>
              <a:gd name="connsiteY153" fmla="*/ 920352 h 3001566"/>
              <a:gd name="connsiteX154" fmla="*/ 5699323 w 6050161"/>
              <a:gd name="connsiteY154" fmla="*/ 920352 h 3001566"/>
              <a:gd name="connsiteX155" fmla="*/ 5683447 w 6050161"/>
              <a:gd name="connsiteY155" fmla="*/ 904477 h 3001566"/>
              <a:gd name="connsiteX156" fmla="*/ 5667573 w 6050161"/>
              <a:gd name="connsiteY156" fmla="*/ 888602 h 3001566"/>
              <a:gd name="connsiteX157" fmla="*/ 5651697 w 6050161"/>
              <a:gd name="connsiteY157" fmla="*/ 888602 h 3001566"/>
              <a:gd name="connsiteX158" fmla="*/ 5635822 w 6050161"/>
              <a:gd name="connsiteY158" fmla="*/ 872727 h 3001566"/>
              <a:gd name="connsiteX159" fmla="*/ 5619947 w 6050161"/>
              <a:gd name="connsiteY159" fmla="*/ 872727 h 3001566"/>
              <a:gd name="connsiteX160" fmla="*/ 5588197 w 6050161"/>
              <a:gd name="connsiteY160" fmla="*/ 856852 h 3001566"/>
              <a:gd name="connsiteX161" fmla="*/ 5588197 w 6050161"/>
              <a:gd name="connsiteY161" fmla="*/ 856852 h 3001566"/>
              <a:gd name="connsiteX162" fmla="*/ 5572323 w 6050161"/>
              <a:gd name="connsiteY162" fmla="*/ 840977 h 3001566"/>
              <a:gd name="connsiteX163" fmla="*/ 5556447 w 6050161"/>
              <a:gd name="connsiteY163" fmla="*/ 840977 h 3001566"/>
              <a:gd name="connsiteX164" fmla="*/ 5540572 w 6050161"/>
              <a:gd name="connsiteY164" fmla="*/ 825102 h 3001566"/>
              <a:gd name="connsiteX165" fmla="*/ 5524697 w 6050161"/>
              <a:gd name="connsiteY165" fmla="*/ 825102 h 3001566"/>
              <a:gd name="connsiteX166" fmla="*/ 5508823 w 6050161"/>
              <a:gd name="connsiteY166" fmla="*/ 809227 h 3001566"/>
              <a:gd name="connsiteX167" fmla="*/ 5492947 w 6050161"/>
              <a:gd name="connsiteY167" fmla="*/ 793352 h 3001566"/>
              <a:gd name="connsiteX168" fmla="*/ 5477073 w 6050161"/>
              <a:gd name="connsiteY168" fmla="*/ 777477 h 3001566"/>
              <a:gd name="connsiteX169" fmla="*/ 5461197 w 6050161"/>
              <a:gd name="connsiteY169" fmla="*/ 761602 h 3001566"/>
              <a:gd name="connsiteX170" fmla="*/ 5445322 w 6050161"/>
              <a:gd name="connsiteY170" fmla="*/ 761602 h 3001566"/>
              <a:gd name="connsiteX171" fmla="*/ 5429447 w 6050161"/>
              <a:gd name="connsiteY171" fmla="*/ 745727 h 3001566"/>
              <a:gd name="connsiteX172" fmla="*/ 5413573 w 6050161"/>
              <a:gd name="connsiteY172" fmla="*/ 745727 h 3001566"/>
              <a:gd name="connsiteX173" fmla="*/ 5397697 w 6050161"/>
              <a:gd name="connsiteY173" fmla="*/ 729852 h 3001566"/>
              <a:gd name="connsiteX174" fmla="*/ 5381823 w 6050161"/>
              <a:gd name="connsiteY174" fmla="*/ 729852 h 3001566"/>
              <a:gd name="connsiteX175" fmla="*/ 5365947 w 6050161"/>
              <a:gd name="connsiteY175" fmla="*/ 713977 h 3001566"/>
              <a:gd name="connsiteX176" fmla="*/ 5350072 w 6050161"/>
              <a:gd name="connsiteY176" fmla="*/ 698102 h 3001566"/>
              <a:gd name="connsiteX177" fmla="*/ 5350072 w 6050161"/>
              <a:gd name="connsiteY177" fmla="*/ 698102 h 3001566"/>
              <a:gd name="connsiteX178" fmla="*/ 5334197 w 6050161"/>
              <a:gd name="connsiteY178" fmla="*/ 682227 h 3001566"/>
              <a:gd name="connsiteX179" fmla="*/ 5318323 w 6050161"/>
              <a:gd name="connsiteY179" fmla="*/ 682227 h 3001566"/>
              <a:gd name="connsiteX180" fmla="*/ 5286573 w 6050161"/>
              <a:gd name="connsiteY180" fmla="*/ 666353 h 3001566"/>
              <a:gd name="connsiteX181" fmla="*/ 5270697 w 6050161"/>
              <a:gd name="connsiteY181" fmla="*/ 650477 h 3001566"/>
              <a:gd name="connsiteX182" fmla="*/ 5254822 w 6050161"/>
              <a:gd name="connsiteY182" fmla="*/ 634602 h 3001566"/>
              <a:gd name="connsiteX183" fmla="*/ 5238947 w 6050161"/>
              <a:gd name="connsiteY183" fmla="*/ 634602 h 3001566"/>
              <a:gd name="connsiteX184" fmla="*/ 5223073 w 6050161"/>
              <a:gd name="connsiteY184" fmla="*/ 618728 h 3001566"/>
              <a:gd name="connsiteX185" fmla="*/ 5223073 w 6050161"/>
              <a:gd name="connsiteY185" fmla="*/ 618728 h 3001566"/>
              <a:gd name="connsiteX186" fmla="*/ 5207197 w 6050161"/>
              <a:gd name="connsiteY186" fmla="*/ 602853 h 3001566"/>
              <a:gd name="connsiteX187" fmla="*/ 5191323 w 6050161"/>
              <a:gd name="connsiteY187" fmla="*/ 602853 h 3001566"/>
              <a:gd name="connsiteX188" fmla="*/ 5175447 w 6050161"/>
              <a:gd name="connsiteY188" fmla="*/ 586977 h 3001566"/>
              <a:gd name="connsiteX189" fmla="*/ 5159572 w 6050161"/>
              <a:gd name="connsiteY189" fmla="*/ 571103 h 3001566"/>
              <a:gd name="connsiteX190" fmla="*/ 5111947 w 6050161"/>
              <a:gd name="connsiteY190" fmla="*/ 571103 h 3001566"/>
              <a:gd name="connsiteX191" fmla="*/ 5096073 w 6050161"/>
              <a:gd name="connsiteY191" fmla="*/ 555228 h 3001566"/>
              <a:gd name="connsiteX192" fmla="*/ 5096073 w 6050161"/>
              <a:gd name="connsiteY192" fmla="*/ 555228 h 3001566"/>
              <a:gd name="connsiteX193" fmla="*/ 5080197 w 6050161"/>
              <a:gd name="connsiteY193" fmla="*/ 539352 h 3001566"/>
              <a:gd name="connsiteX194" fmla="*/ 5032573 w 6050161"/>
              <a:gd name="connsiteY194" fmla="*/ 539352 h 3001566"/>
              <a:gd name="connsiteX195" fmla="*/ 5016697 w 6050161"/>
              <a:gd name="connsiteY195" fmla="*/ 523478 h 3001566"/>
              <a:gd name="connsiteX196" fmla="*/ 5000823 w 6050161"/>
              <a:gd name="connsiteY196" fmla="*/ 507602 h 3001566"/>
              <a:gd name="connsiteX197" fmla="*/ 4969072 w 6050161"/>
              <a:gd name="connsiteY197" fmla="*/ 491727 h 3001566"/>
              <a:gd name="connsiteX198" fmla="*/ 4937323 w 6050161"/>
              <a:gd name="connsiteY198" fmla="*/ 491727 h 3001566"/>
              <a:gd name="connsiteX199" fmla="*/ 4921447 w 6050161"/>
              <a:gd name="connsiteY199" fmla="*/ 475853 h 3001566"/>
              <a:gd name="connsiteX200" fmla="*/ 4873822 w 6050161"/>
              <a:gd name="connsiteY200" fmla="*/ 475853 h 3001566"/>
              <a:gd name="connsiteX201" fmla="*/ 4857947 w 6050161"/>
              <a:gd name="connsiteY201" fmla="*/ 459978 h 3001566"/>
              <a:gd name="connsiteX202" fmla="*/ 4842073 w 6050161"/>
              <a:gd name="connsiteY202" fmla="*/ 444102 h 3001566"/>
              <a:gd name="connsiteX203" fmla="*/ 4810323 w 6050161"/>
              <a:gd name="connsiteY203" fmla="*/ 444102 h 3001566"/>
              <a:gd name="connsiteX204" fmla="*/ 4794447 w 6050161"/>
              <a:gd name="connsiteY204" fmla="*/ 428228 h 3001566"/>
              <a:gd name="connsiteX205" fmla="*/ 4778572 w 6050161"/>
              <a:gd name="connsiteY205" fmla="*/ 428228 h 3001566"/>
              <a:gd name="connsiteX206" fmla="*/ 4762697 w 6050161"/>
              <a:gd name="connsiteY206" fmla="*/ 412353 h 3001566"/>
              <a:gd name="connsiteX207" fmla="*/ 4746823 w 6050161"/>
              <a:gd name="connsiteY207" fmla="*/ 412353 h 3001566"/>
              <a:gd name="connsiteX208" fmla="*/ 4730947 w 6050161"/>
              <a:gd name="connsiteY208" fmla="*/ 396477 h 3001566"/>
              <a:gd name="connsiteX209" fmla="*/ 4715073 w 6050161"/>
              <a:gd name="connsiteY209" fmla="*/ 380603 h 3001566"/>
              <a:gd name="connsiteX210" fmla="*/ 4683323 w 6050161"/>
              <a:gd name="connsiteY210" fmla="*/ 364727 h 3001566"/>
              <a:gd name="connsiteX211" fmla="*/ 4667447 w 6050161"/>
              <a:gd name="connsiteY211" fmla="*/ 348852 h 3001566"/>
              <a:gd name="connsiteX212" fmla="*/ 4651573 w 6050161"/>
              <a:gd name="connsiteY212" fmla="*/ 348852 h 3001566"/>
              <a:gd name="connsiteX213" fmla="*/ 4635698 w 6050161"/>
              <a:gd name="connsiteY213" fmla="*/ 332978 h 3001566"/>
              <a:gd name="connsiteX214" fmla="*/ 4619823 w 6050161"/>
              <a:gd name="connsiteY214" fmla="*/ 317103 h 3001566"/>
              <a:gd name="connsiteX215" fmla="*/ 4619823 w 6050161"/>
              <a:gd name="connsiteY215" fmla="*/ 317103 h 3001566"/>
              <a:gd name="connsiteX216" fmla="*/ 4603947 w 6050161"/>
              <a:gd name="connsiteY216" fmla="*/ 301227 h 3001566"/>
              <a:gd name="connsiteX217" fmla="*/ 4588073 w 6050161"/>
              <a:gd name="connsiteY217" fmla="*/ 285353 h 3001566"/>
              <a:gd name="connsiteX218" fmla="*/ 4572197 w 6050161"/>
              <a:gd name="connsiteY218" fmla="*/ 269478 h 3001566"/>
              <a:gd name="connsiteX219" fmla="*/ 4556323 w 6050161"/>
              <a:gd name="connsiteY219" fmla="*/ 253602 h 3001566"/>
              <a:gd name="connsiteX220" fmla="*/ 4556323 w 6050161"/>
              <a:gd name="connsiteY220" fmla="*/ 253602 h 3001566"/>
              <a:gd name="connsiteX221" fmla="*/ 4540448 w 6050161"/>
              <a:gd name="connsiteY221" fmla="*/ 237728 h 3001566"/>
              <a:gd name="connsiteX222" fmla="*/ 4508697 w 6050161"/>
              <a:gd name="connsiteY222" fmla="*/ 221852 h 3001566"/>
              <a:gd name="connsiteX223" fmla="*/ 4461073 w 6050161"/>
              <a:gd name="connsiteY223" fmla="*/ 205977 h 3001566"/>
              <a:gd name="connsiteX224" fmla="*/ 4413447 w 6050161"/>
              <a:gd name="connsiteY224" fmla="*/ 205977 h 3001566"/>
              <a:gd name="connsiteX225" fmla="*/ 4397573 w 6050161"/>
              <a:gd name="connsiteY225" fmla="*/ 190103 h 3001566"/>
              <a:gd name="connsiteX226" fmla="*/ 4334073 w 6050161"/>
              <a:gd name="connsiteY226" fmla="*/ 190103 h 3001566"/>
              <a:gd name="connsiteX227" fmla="*/ 4302323 w 6050161"/>
              <a:gd name="connsiteY227" fmla="*/ 174228 h 3001566"/>
              <a:gd name="connsiteX228" fmla="*/ 4016573 w 6050161"/>
              <a:gd name="connsiteY228" fmla="*/ 174228 h 3001566"/>
              <a:gd name="connsiteX229" fmla="*/ 4000698 w 6050161"/>
              <a:gd name="connsiteY229" fmla="*/ 158352 h 3001566"/>
              <a:gd name="connsiteX230" fmla="*/ 3921323 w 6050161"/>
              <a:gd name="connsiteY230" fmla="*/ 158352 h 3001566"/>
              <a:gd name="connsiteX231" fmla="*/ 3889572 w 6050161"/>
              <a:gd name="connsiteY231" fmla="*/ 142478 h 3001566"/>
              <a:gd name="connsiteX232" fmla="*/ 3857823 w 6050161"/>
              <a:gd name="connsiteY232" fmla="*/ 142478 h 3001566"/>
              <a:gd name="connsiteX233" fmla="*/ 3841947 w 6050161"/>
              <a:gd name="connsiteY233" fmla="*/ 126603 h 3001566"/>
              <a:gd name="connsiteX234" fmla="*/ 3778448 w 6050161"/>
              <a:gd name="connsiteY234" fmla="*/ 126603 h 3001566"/>
              <a:gd name="connsiteX235" fmla="*/ 3762573 w 6050161"/>
              <a:gd name="connsiteY235" fmla="*/ 110727 h 3001566"/>
              <a:gd name="connsiteX236" fmla="*/ 3746697 w 6050161"/>
              <a:gd name="connsiteY236" fmla="*/ 110727 h 3001566"/>
              <a:gd name="connsiteX237" fmla="*/ 3714948 w 6050161"/>
              <a:gd name="connsiteY237" fmla="*/ 94853 h 3001566"/>
              <a:gd name="connsiteX238" fmla="*/ 3651447 w 6050161"/>
              <a:gd name="connsiteY238" fmla="*/ 94853 h 3001566"/>
              <a:gd name="connsiteX239" fmla="*/ 3619698 w 6050161"/>
              <a:gd name="connsiteY239" fmla="*/ 78978 h 3001566"/>
              <a:gd name="connsiteX240" fmla="*/ 3413322 w 6050161"/>
              <a:gd name="connsiteY240" fmla="*/ 78978 h 3001566"/>
              <a:gd name="connsiteX241" fmla="*/ 3397448 w 6050161"/>
              <a:gd name="connsiteY241" fmla="*/ 63103 h 3001566"/>
              <a:gd name="connsiteX242" fmla="*/ 2556072 w 6050161"/>
              <a:gd name="connsiteY242" fmla="*/ 47228 h 3001566"/>
              <a:gd name="connsiteX243" fmla="*/ 2476697 w 6050161"/>
              <a:gd name="connsiteY243" fmla="*/ 47228 h 3001566"/>
              <a:gd name="connsiteX244" fmla="*/ 2444947 w 6050161"/>
              <a:gd name="connsiteY244" fmla="*/ 31352 h 3001566"/>
              <a:gd name="connsiteX245" fmla="*/ 2365572 w 6050161"/>
              <a:gd name="connsiteY245" fmla="*/ 15478 h 3001566"/>
              <a:gd name="connsiteX246" fmla="*/ 2270323 w 6050161"/>
              <a:gd name="connsiteY246" fmla="*/ 15478 h 3001566"/>
              <a:gd name="connsiteX247" fmla="*/ 2238572 w 6050161"/>
              <a:gd name="connsiteY247" fmla="*/ -397 h 3001566"/>
              <a:gd name="connsiteX248" fmla="*/ 1254323 w 6050161"/>
              <a:gd name="connsiteY248" fmla="*/ 15478 h 3001566"/>
              <a:gd name="connsiteX249" fmla="*/ 1222572 w 6050161"/>
              <a:gd name="connsiteY249" fmla="*/ 15478 h 3001566"/>
              <a:gd name="connsiteX250" fmla="*/ 1190822 w 6050161"/>
              <a:gd name="connsiteY250" fmla="*/ 31352 h 3001566"/>
              <a:gd name="connsiteX251" fmla="*/ 1174947 w 6050161"/>
              <a:gd name="connsiteY251" fmla="*/ 47228 h 3001566"/>
              <a:gd name="connsiteX252" fmla="*/ 1159073 w 6050161"/>
              <a:gd name="connsiteY252" fmla="*/ 47228 h 3001566"/>
              <a:gd name="connsiteX253" fmla="*/ 1143197 w 6050161"/>
              <a:gd name="connsiteY253" fmla="*/ 63103 h 3001566"/>
              <a:gd name="connsiteX254" fmla="*/ 1127322 w 6050161"/>
              <a:gd name="connsiteY254" fmla="*/ 63103 h 3001566"/>
              <a:gd name="connsiteX255" fmla="*/ 1111448 w 6050161"/>
              <a:gd name="connsiteY255" fmla="*/ 78978 h 3001566"/>
              <a:gd name="connsiteX256" fmla="*/ 1063823 w 6050161"/>
              <a:gd name="connsiteY256" fmla="*/ 78978 h 3001566"/>
              <a:gd name="connsiteX257" fmla="*/ 1047947 w 6050161"/>
              <a:gd name="connsiteY257" fmla="*/ 94853 h 3001566"/>
              <a:gd name="connsiteX258" fmla="*/ 1032072 w 6050161"/>
              <a:gd name="connsiteY258" fmla="*/ 110727 h 3001566"/>
              <a:gd name="connsiteX259" fmla="*/ 1016198 w 6050161"/>
              <a:gd name="connsiteY259" fmla="*/ 126603 h 3001566"/>
              <a:gd name="connsiteX260" fmla="*/ 1016198 w 6050161"/>
              <a:gd name="connsiteY260" fmla="*/ 126603 h 3001566"/>
              <a:gd name="connsiteX261" fmla="*/ 1000322 w 6050161"/>
              <a:gd name="connsiteY261" fmla="*/ 142478 h 3001566"/>
              <a:gd name="connsiteX262" fmla="*/ 984447 w 6050161"/>
              <a:gd name="connsiteY262" fmla="*/ 158352 h 3001566"/>
              <a:gd name="connsiteX263" fmla="*/ 968572 w 6050161"/>
              <a:gd name="connsiteY263" fmla="*/ 174228 h 3001566"/>
              <a:gd name="connsiteX264" fmla="*/ 952697 w 6050161"/>
              <a:gd name="connsiteY264" fmla="*/ 190103 h 3001566"/>
              <a:gd name="connsiteX265" fmla="*/ 936822 w 6050161"/>
              <a:gd name="connsiteY265" fmla="*/ 205977 h 3001566"/>
              <a:gd name="connsiteX266" fmla="*/ 920948 w 6050161"/>
              <a:gd name="connsiteY266" fmla="*/ 221852 h 3001566"/>
              <a:gd name="connsiteX267" fmla="*/ 905072 w 6050161"/>
              <a:gd name="connsiteY267" fmla="*/ 237728 h 3001566"/>
              <a:gd name="connsiteX268" fmla="*/ 905072 w 6050161"/>
              <a:gd name="connsiteY268" fmla="*/ 253602 h 3001566"/>
              <a:gd name="connsiteX269" fmla="*/ 889197 w 6050161"/>
              <a:gd name="connsiteY269" fmla="*/ 269478 h 3001566"/>
              <a:gd name="connsiteX270" fmla="*/ 889197 w 6050161"/>
              <a:gd name="connsiteY270" fmla="*/ 269478 h 3001566"/>
              <a:gd name="connsiteX271" fmla="*/ 873323 w 6050161"/>
              <a:gd name="connsiteY271" fmla="*/ 285353 h 3001566"/>
              <a:gd name="connsiteX272" fmla="*/ 873323 w 6050161"/>
              <a:gd name="connsiteY272" fmla="*/ 301227 h 3001566"/>
              <a:gd name="connsiteX273" fmla="*/ 857447 w 6050161"/>
              <a:gd name="connsiteY273" fmla="*/ 317103 h 3001566"/>
              <a:gd name="connsiteX274" fmla="*/ 857447 w 6050161"/>
              <a:gd name="connsiteY274" fmla="*/ 332978 h 3001566"/>
              <a:gd name="connsiteX275" fmla="*/ 841572 w 6050161"/>
              <a:gd name="connsiteY275" fmla="*/ 348852 h 3001566"/>
              <a:gd name="connsiteX276" fmla="*/ 825698 w 6050161"/>
              <a:gd name="connsiteY276" fmla="*/ 364727 h 3001566"/>
              <a:gd name="connsiteX277" fmla="*/ 809822 w 6050161"/>
              <a:gd name="connsiteY277" fmla="*/ 396477 h 3001566"/>
              <a:gd name="connsiteX278" fmla="*/ 793947 w 6050161"/>
              <a:gd name="connsiteY278" fmla="*/ 428228 h 3001566"/>
              <a:gd name="connsiteX279" fmla="*/ 778073 w 6050161"/>
              <a:gd name="connsiteY279" fmla="*/ 459978 h 3001566"/>
              <a:gd name="connsiteX280" fmla="*/ 778073 w 6050161"/>
              <a:gd name="connsiteY280" fmla="*/ 475853 h 3001566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</a:cxnLst>
            <a:rect l="l" t="t" r="r" b="b"/>
            <a:pathLst>
              <a:path w="6050161" h="3001566">
                <a:moveTo>
                  <a:pt x="778073" y="364727"/>
                </a:moveTo>
                <a:cubicBezTo>
                  <a:pt x="778073" y="372136"/>
                  <a:pt x="779131" y="467386"/>
                  <a:pt x="778073" y="475853"/>
                </a:cubicBezTo>
                <a:cubicBezTo>
                  <a:pt x="777014" y="484319"/>
                  <a:pt x="763256" y="487494"/>
                  <a:pt x="762197" y="491727"/>
                </a:cubicBezTo>
                <a:cubicBezTo>
                  <a:pt x="761139" y="495961"/>
                  <a:pt x="763256" y="535119"/>
                  <a:pt x="762197" y="539352"/>
                </a:cubicBezTo>
                <a:cubicBezTo>
                  <a:pt x="761139" y="543585"/>
                  <a:pt x="748439" y="550994"/>
                  <a:pt x="746322" y="555228"/>
                </a:cubicBezTo>
                <a:cubicBezTo>
                  <a:pt x="744206" y="559461"/>
                  <a:pt x="731506" y="596502"/>
                  <a:pt x="730448" y="602853"/>
                </a:cubicBezTo>
                <a:cubicBezTo>
                  <a:pt x="729389" y="609202"/>
                  <a:pt x="731506" y="646244"/>
                  <a:pt x="730448" y="650477"/>
                </a:cubicBezTo>
                <a:cubicBezTo>
                  <a:pt x="729389" y="654710"/>
                  <a:pt x="715631" y="664236"/>
                  <a:pt x="714572" y="666353"/>
                </a:cubicBezTo>
                <a:cubicBezTo>
                  <a:pt x="713514" y="668469"/>
                  <a:pt x="716689" y="680110"/>
                  <a:pt x="714572" y="682227"/>
                </a:cubicBezTo>
                <a:cubicBezTo>
                  <a:pt x="712456" y="684344"/>
                  <a:pt x="685997" y="694927"/>
                  <a:pt x="682822" y="698102"/>
                </a:cubicBezTo>
                <a:cubicBezTo>
                  <a:pt x="679648" y="701277"/>
                  <a:pt x="669064" y="725619"/>
                  <a:pt x="666947" y="729852"/>
                </a:cubicBezTo>
                <a:cubicBezTo>
                  <a:pt x="664830" y="734086"/>
                  <a:pt x="652131" y="757369"/>
                  <a:pt x="651072" y="761602"/>
                </a:cubicBezTo>
                <a:cubicBezTo>
                  <a:pt x="650014" y="765835"/>
                  <a:pt x="652130" y="790177"/>
                  <a:pt x="651072" y="793352"/>
                </a:cubicBezTo>
                <a:cubicBezTo>
                  <a:pt x="650014" y="796527"/>
                  <a:pt x="637314" y="807110"/>
                  <a:pt x="635198" y="809227"/>
                </a:cubicBezTo>
                <a:cubicBezTo>
                  <a:pt x="633081" y="811343"/>
                  <a:pt x="620381" y="821927"/>
                  <a:pt x="619322" y="825102"/>
                </a:cubicBezTo>
                <a:cubicBezTo>
                  <a:pt x="618264" y="828277"/>
                  <a:pt x="620381" y="853677"/>
                  <a:pt x="619322" y="856852"/>
                </a:cubicBezTo>
                <a:cubicBezTo>
                  <a:pt x="618264" y="860027"/>
                  <a:pt x="604505" y="870610"/>
                  <a:pt x="603447" y="872727"/>
                </a:cubicBezTo>
                <a:cubicBezTo>
                  <a:pt x="602389" y="874844"/>
                  <a:pt x="604505" y="886486"/>
                  <a:pt x="603447" y="888602"/>
                </a:cubicBezTo>
                <a:cubicBezTo>
                  <a:pt x="602389" y="890718"/>
                  <a:pt x="588631" y="902360"/>
                  <a:pt x="587573" y="904477"/>
                </a:cubicBezTo>
                <a:cubicBezTo>
                  <a:pt x="586514" y="906593"/>
                  <a:pt x="588631" y="918235"/>
                  <a:pt x="587573" y="920352"/>
                </a:cubicBezTo>
                <a:cubicBezTo>
                  <a:pt x="586514" y="922469"/>
                  <a:pt x="573814" y="934110"/>
                  <a:pt x="571697" y="936227"/>
                </a:cubicBezTo>
                <a:cubicBezTo>
                  <a:pt x="569580" y="938343"/>
                  <a:pt x="557939" y="948927"/>
                  <a:pt x="555823" y="952102"/>
                </a:cubicBezTo>
                <a:cubicBezTo>
                  <a:pt x="553706" y="955277"/>
                  <a:pt x="541006" y="981735"/>
                  <a:pt x="539947" y="983852"/>
                </a:cubicBezTo>
                <a:cubicBezTo>
                  <a:pt x="538889" y="985969"/>
                  <a:pt x="541006" y="982794"/>
                  <a:pt x="539947" y="983852"/>
                </a:cubicBezTo>
                <a:cubicBezTo>
                  <a:pt x="538889" y="984910"/>
                  <a:pt x="526189" y="997610"/>
                  <a:pt x="524072" y="999727"/>
                </a:cubicBezTo>
                <a:cubicBezTo>
                  <a:pt x="521955" y="1001843"/>
                  <a:pt x="510314" y="1013486"/>
                  <a:pt x="508197" y="1015602"/>
                </a:cubicBezTo>
                <a:cubicBezTo>
                  <a:pt x="506081" y="1017719"/>
                  <a:pt x="494439" y="1029360"/>
                  <a:pt x="492322" y="1031477"/>
                </a:cubicBezTo>
                <a:cubicBezTo>
                  <a:pt x="490206" y="1033593"/>
                  <a:pt x="477506" y="1045236"/>
                  <a:pt x="476447" y="1047352"/>
                </a:cubicBezTo>
                <a:cubicBezTo>
                  <a:pt x="475389" y="1049469"/>
                  <a:pt x="477506" y="1061110"/>
                  <a:pt x="476447" y="1063227"/>
                </a:cubicBezTo>
                <a:cubicBezTo>
                  <a:pt x="475389" y="1065344"/>
                  <a:pt x="462689" y="1078043"/>
                  <a:pt x="460572" y="1079102"/>
                </a:cubicBezTo>
                <a:cubicBezTo>
                  <a:pt x="458456" y="1080160"/>
                  <a:pt x="446814" y="1078044"/>
                  <a:pt x="444698" y="1079102"/>
                </a:cubicBezTo>
                <a:cubicBezTo>
                  <a:pt x="442581" y="1080160"/>
                  <a:pt x="431997" y="1092860"/>
                  <a:pt x="428822" y="1094977"/>
                </a:cubicBezTo>
                <a:cubicBezTo>
                  <a:pt x="425647" y="1097093"/>
                  <a:pt x="399189" y="1109794"/>
                  <a:pt x="397073" y="1110852"/>
                </a:cubicBezTo>
                <a:cubicBezTo>
                  <a:pt x="394956" y="1111910"/>
                  <a:pt x="398131" y="1109793"/>
                  <a:pt x="397073" y="1110852"/>
                </a:cubicBezTo>
                <a:cubicBezTo>
                  <a:pt x="396014" y="1111910"/>
                  <a:pt x="383314" y="1124610"/>
                  <a:pt x="381197" y="1126727"/>
                </a:cubicBezTo>
                <a:cubicBezTo>
                  <a:pt x="379080" y="1128843"/>
                  <a:pt x="366381" y="1141544"/>
                  <a:pt x="365322" y="1142602"/>
                </a:cubicBezTo>
                <a:cubicBezTo>
                  <a:pt x="364264" y="1143661"/>
                  <a:pt x="366380" y="1141544"/>
                  <a:pt x="365322" y="1142602"/>
                </a:cubicBezTo>
                <a:cubicBezTo>
                  <a:pt x="364264" y="1143661"/>
                  <a:pt x="351564" y="1156360"/>
                  <a:pt x="349448" y="1158477"/>
                </a:cubicBezTo>
                <a:cubicBezTo>
                  <a:pt x="347331" y="1160594"/>
                  <a:pt x="335689" y="1170119"/>
                  <a:pt x="333572" y="1174352"/>
                </a:cubicBezTo>
                <a:cubicBezTo>
                  <a:pt x="331455" y="1178585"/>
                  <a:pt x="318756" y="1215627"/>
                  <a:pt x="317697" y="1221977"/>
                </a:cubicBezTo>
                <a:cubicBezTo>
                  <a:pt x="316639" y="1228327"/>
                  <a:pt x="318756" y="1265369"/>
                  <a:pt x="317697" y="1269602"/>
                </a:cubicBezTo>
                <a:cubicBezTo>
                  <a:pt x="316639" y="1273835"/>
                  <a:pt x="303939" y="1283360"/>
                  <a:pt x="301823" y="1285477"/>
                </a:cubicBezTo>
                <a:cubicBezTo>
                  <a:pt x="299706" y="1287593"/>
                  <a:pt x="287006" y="1299235"/>
                  <a:pt x="285947" y="1301352"/>
                </a:cubicBezTo>
                <a:cubicBezTo>
                  <a:pt x="284889" y="1303469"/>
                  <a:pt x="287005" y="1315110"/>
                  <a:pt x="285947" y="1317227"/>
                </a:cubicBezTo>
                <a:cubicBezTo>
                  <a:pt x="284889" y="1319343"/>
                  <a:pt x="271130" y="1330986"/>
                  <a:pt x="270072" y="1333102"/>
                </a:cubicBezTo>
                <a:cubicBezTo>
                  <a:pt x="269014" y="1335219"/>
                  <a:pt x="271131" y="1346860"/>
                  <a:pt x="270072" y="1348977"/>
                </a:cubicBezTo>
                <a:cubicBezTo>
                  <a:pt x="269014" y="1351094"/>
                  <a:pt x="256314" y="1362735"/>
                  <a:pt x="254198" y="1364852"/>
                </a:cubicBezTo>
                <a:cubicBezTo>
                  <a:pt x="252081" y="1366969"/>
                  <a:pt x="240439" y="1379668"/>
                  <a:pt x="238322" y="1380727"/>
                </a:cubicBezTo>
                <a:cubicBezTo>
                  <a:pt x="236205" y="1381785"/>
                  <a:pt x="224564" y="1379668"/>
                  <a:pt x="222447" y="1380727"/>
                </a:cubicBezTo>
                <a:cubicBezTo>
                  <a:pt x="220331" y="1381785"/>
                  <a:pt x="209747" y="1394485"/>
                  <a:pt x="206573" y="1396602"/>
                </a:cubicBezTo>
                <a:cubicBezTo>
                  <a:pt x="203398" y="1398718"/>
                  <a:pt x="176939" y="1411419"/>
                  <a:pt x="174822" y="1412477"/>
                </a:cubicBezTo>
                <a:cubicBezTo>
                  <a:pt x="172706" y="1413535"/>
                  <a:pt x="175881" y="1411418"/>
                  <a:pt x="174822" y="1412477"/>
                </a:cubicBezTo>
                <a:cubicBezTo>
                  <a:pt x="173764" y="1413535"/>
                  <a:pt x="162122" y="1426235"/>
                  <a:pt x="158948" y="1428352"/>
                </a:cubicBezTo>
                <a:cubicBezTo>
                  <a:pt x="155773" y="1430469"/>
                  <a:pt x="129314" y="1443168"/>
                  <a:pt x="127197" y="1444227"/>
                </a:cubicBezTo>
                <a:cubicBezTo>
                  <a:pt x="125081" y="1445285"/>
                  <a:pt x="128256" y="1443168"/>
                  <a:pt x="127197" y="1444227"/>
                </a:cubicBezTo>
                <a:cubicBezTo>
                  <a:pt x="126139" y="1445285"/>
                  <a:pt x="113439" y="1457985"/>
                  <a:pt x="111323" y="1460102"/>
                </a:cubicBezTo>
                <a:cubicBezTo>
                  <a:pt x="109206" y="1462218"/>
                  <a:pt x="98622" y="1473860"/>
                  <a:pt x="95447" y="1475977"/>
                </a:cubicBezTo>
                <a:cubicBezTo>
                  <a:pt x="92272" y="1478093"/>
                  <a:pt x="66872" y="1489735"/>
                  <a:pt x="63697" y="1491852"/>
                </a:cubicBezTo>
                <a:cubicBezTo>
                  <a:pt x="60523" y="1493968"/>
                  <a:pt x="49939" y="1505610"/>
                  <a:pt x="47822" y="1507727"/>
                </a:cubicBezTo>
                <a:cubicBezTo>
                  <a:pt x="45705" y="1509843"/>
                  <a:pt x="33006" y="1519368"/>
                  <a:pt x="31947" y="1523602"/>
                </a:cubicBezTo>
                <a:cubicBezTo>
                  <a:pt x="30889" y="1527835"/>
                  <a:pt x="33006" y="1566993"/>
                  <a:pt x="31947" y="1571227"/>
                </a:cubicBezTo>
                <a:cubicBezTo>
                  <a:pt x="30889" y="1575460"/>
                  <a:pt x="17131" y="1586043"/>
                  <a:pt x="16073" y="1587102"/>
                </a:cubicBezTo>
                <a:cubicBezTo>
                  <a:pt x="15014" y="1588160"/>
                  <a:pt x="17131" y="1586043"/>
                  <a:pt x="16073" y="1587102"/>
                </a:cubicBezTo>
                <a:cubicBezTo>
                  <a:pt x="15014" y="1588160"/>
                  <a:pt x="1256" y="1597685"/>
                  <a:pt x="197" y="1602977"/>
                </a:cubicBezTo>
                <a:cubicBezTo>
                  <a:pt x="-860" y="1608268"/>
                  <a:pt x="-860" y="1661185"/>
                  <a:pt x="197" y="1666477"/>
                </a:cubicBezTo>
                <a:cubicBezTo>
                  <a:pt x="1256" y="1671768"/>
                  <a:pt x="13956" y="1677060"/>
                  <a:pt x="16073" y="1682352"/>
                </a:cubicBezTo>
                <a:cubicBezTo>
                  <a:pt x="18189" y="1687644"/>
                  <a:pt x="29831" y="1738443"/>
                  <a:pt x="31947" y="1745852"/>
                </a:cubicBezTo>
                <a:cubicBezTo>
                  <a:pt x="34064" y="1753260"/>
                  <a:pt x="46764" y="1739502"/>
                  <a:pt x="47822" y="1793477"/>
                </a:cubicBezTo>
                <a:cubicBezTo>
                  <a:pt x="48881" y="1847452"/>
                  <a:pt x="46764" y="2503618"/>
                  <a:pt x="47822" y="2555477"/>
                </a:cubicBezTo>
                <a:cubicBezTo>
                  <a:pt x="48881" y="2607335"/>
                  <a:pt x="61581" y="2567118"/>
                  <a:pt x="63697" y="2571352"/>
                </a:cubicBezTo>
                <a:cubicBezTo>
                  <a:pt x="65814" y="2575585"/>
                  <a:pt x="78514" y="2613685"/>
                  <a:pt x="79572" y="2618977"/>
                </a:cubicBezTo>
                <a:cubicBezTo>
                  <a:pt x="80630" y="2624268"/>
                  <a:pt x="78514" y="2647552"/>
                  <a:pt x="79572" y="2650727"/>
                </a:cubicBezTo>
                <a:cubicBezTo>
                  <a:pt x="80631" y="2653902"/>
                  <a:pt x="93330" y="2663426"/>
                  <a:pt x="95447" y="2666602"/>
                </a:cubicBezTo>
                <a:cubicBezTo>
                  <a:pt x="97564" y="2669776"/>
                  <a:pt x="110264" y="2693060"/>
                  <a:pt x="111323" y="2698352"/>
                </a:cubicBezTo>
                <a:cubicBezTo>
                  <a:pt x="112381" y="2703644"/>
                  <a:pt x="110264" y="2741743"/>
                  <a:pt x="111323" y="2745977"/>
                </a:cubicBezTo>
                <a:cubicBezTo>
                  <a:pt x="112381" y="2750210"/>
                  <a:pt x="127197" y="2751268"/>
                  <a:pt x="127197" y="2761852"/>
                </a:cubicBezTo>
                <a:cubicBezTo>
                  <a:pt x="127197" y="2772435"/>
                  <a:pt x="103914" y="2895201"/>
                  <a:pt x="111323" y="2904727"/>
                </a:cubicBezTo>
                <a:cubicBezTo>
                  <a:pt x="118731" y="2914251"/>
                  <a:pt x="228797" y="2903668"/>
                  <a:pt x="238322" y="2904727"/>
                </a:cubicBezTo>
                <a:cubicBezTo>
                  <a:pt x="247847" y="2905784"/>
                  <a:pt x="230914" y="2919544"/>
                  <a:pt x="254198" y="2920602"/>
                </a:cubicBezTo>
                <a:cubicBezTo>
                  <a:pt x="277481" y="2921660"/>
                  <a:pt x="562173" y="2919543"/>
                  <a:pt x="587573" y="2920602"/>
                </a:cubicBezTo>
                <a:cubicBezTo>
                  <a:pt x="612973" y="2921660"/>
                  <a:pt x="628847" y="2935418"/>
                  <a:pt x="635198" y="2936477"/>
                </a:cubicBezTo>
                <a:cubicBezTo>
                  <a:pt x="641548" y="2937536"/>
                  <a:pt x="676473" y="2935418"/>
                  <a:pt x="682822" y="2936477"/>
                </a:cubicBezTo>
                <a:cubicBezTo>
                  <a:pt x="689172" y="2937535"/>
                  <a:pt x="682822" y="2952351"/>
                  <a:pt x="730448" y="2952352"/>
                </a:cubicBezTo>
                <a:cubicBezTo>
                  <a:pt x="778073" y="2952351"/>
                  <a:pt x="1342164" y="2938594"/>
                  <a:pt x="1397197" y="2936477"/>
                </a:cubicBezTo>
                <a:cubicBezTo>
                  <a:pt x="1452230" y="2934360"/>
                  <a:pt x="1507264" y="2921660"/>
                  <a:pt x="1555947" y="2920602"/>
                </a:cubicBezTo>
                <a:cubicBezTo>
                  <a:pt x="1604630" y="2919543"/>
                  <a:pt x="2086172" y="2919543"/>
                  <a:pt x="2127447" y="2920602"/>
                </a:cubicBezTo>
                <a:cubicBezTo>
                  <a:pt x="2168722" y="2921660"/>
                  <a:pt x="2169780" y="2935418"/>
                  <a:pt x="2175072" y="2936477"/>
                </a:cubicBezTo>
                <a:cubicBezTo>
                  <a:pt x="2180364" y="2937536"/>
                  <a:pt x="2202588" y="2935418"/>
                  <a:pt x="2206822" y="2936477"/>
                </a:cubicBezTo>
                <a:cubicBezTo>
                  <a:pt x="2211055" y="2937535"/>
                  <a:pt x="2216347" y="2951293"/>
                  <a:pt x="2238572" y="2952352"/>
                </a:cubicBezTo>
                <a:cubicBezTo>
                  <a:pt x="2260797" y="2953410"/>
                  <a:pt x="2515856" y="2951292"/>
                  <a:pt x="2540198" y="2952352"/>
                </a:cubicBezTo>
                <a:cubicBezTo>
                  <a:pt x="2564539" y="2953410"/>
                  <a:pt x="2593114" y="2967168"/>
                  <a:pt x="2603697" y="2968227"/>
                </a:cubicBezTo>
                <a:cubicBezTo>
                  <a:pt x="2614280" y="2969285"/>
                  <a:pt x="2688363" y="2966110"/>
                  <a:pt x="2698947" y="2968227"/>
                </a:cubicBezTo>
                <a:cubicBezTo>
                  <a:pt x="2709530" y="2970343"/>
                  <a:pt x="2711647" y="2997860"/>
                  <a:pt x="2762447" y="2999977"/>
                </a:cubicBezTo>
                <a:cubicBezTo>
                  <a:pt x="2813247" y="3002093"/>
                  <a:pt x="3413322" y="3001035"/>
                  <a:pt x="3460947" y="2999977"/>
                </a:cubicBezTo>
                <a:cubicBezTo>
                  <a:pt x="3508572" y="2998918"/>
                  <a:pt x="3460947" y="2985160"/>
                  <a:pt x="3476823" y="2984102"/>
                </a:cubicBezTo>
                <a:cubicBezTo>
                  <a:pt x="3492697" y="2983043"/>
                  <a:pt x="3683197" y="2985160"/>
                  <a:pt x="3699072" y="2984102"/>
                </a:cubicBezTo>
                <a:cubicBezTo>
                  <a:pt x="3714947" y="2983044"/>
                  <a:pt x="3709655" y="2969284"/>
                  <a:pt x="3714948" y="2968227"/>
                </a:cubicBezTo>
                <a:cubicBezTo>
                  <a:pt x="3720240" y="2967168"/>
                  <a:pt x="3772097" y="2969285"/>
                  <a:pt x="3778448" y="2968227"/>
                </a:cubicBezTo>
                <a:cubicBezTo>
                  <a:pt x="3784797" y="2967168"/>
                  <a:pt x="3802789" y="2953410"/>
                  <a:pt x="3810197" y="2952352"/>
                </a:cubicBezTo>
                <a:cubicBezTo>
                  <a:pt x="3817605" y="2951292"/>
                  <a:pt x="3883222" y="2953410"/>
                  <a:pt x="3889572" y="2952352"/>
                </a:cubicBezTo>
                <a:cubicBezTo>
                  <a:pt x="3895921" y="2951293"/>
                  <a:pt x="3785856" y="2937535"/>
                  <a:pt x="3905448" y="2936477"/>
                </a:cubicBezTo>
                <a:cubicBezTo>
                  <a:pt x="4025039" y="2935418"/>
                  <a:pt x="5562797" y="2935418"/>
                  <a:pt x="5683447" y="2936477"/>
                </a:cubicBezTo>
                <a:cubicBezTo>
                  <a:pt x="5804097" y="2937535"/>
                  <a:pt x="5709905" y="2951293"/>
                  <a:pt x="5715197" y="2952352"/>
                </a:cubicBezTo>
                <a:cubicBezTo>
                  <a:pt x="5720489" y="2953410"/>
                  <a:pt x="5756472" y="2951292"/>
                  <a:pt x="5762823" y="2952352"/>
                </a:cubicBezTo>
                <a:cubicBezTo>
                  <a:pt x="5769172" y="2953410"/>
                  <a:pt x="5794572" y="2968226"/>
                  <a:pt x="5810447" y="2968227"/>
                </a:cubicBezTo>
                <a:cubicBezTo>
                  <a:pt x="5826322" y="2968226"/>
                  <a:pt x="5987190" y="2954468"/>
                  <a:pt x="6000947" y="2952352"/>
                </a:cubicBezTo>
                <a:cubicBezTo>
                  <a:pt x="6014705" y="2950234"/>
                  <a:pt x="6013646" y="2938594"/>
                  <a:pt x="6016822" y="2936477"/>
                </a:cubicBezTo>
                <a:cubicBezTo>
                  <a:pt x="6019997" y="2934360"/>
                  <a:pt x="6047513" y="2932243"/>
                  <a:pt x="6048572" y="2920602"/>
                </a:cubicBezTo>
                <a:cubicBezTo>
                  <a:pt x="6049631" y="2908960"/>
                  <a:pt x="6033755" y="2777726"/>
                  <a:pt x="6032697" y="2761852"/>
                </a:cubicBezTo>
                <a:cubicBezTo>
                  <a:pt x="6031638" y="2745977"/>
                  <a:pt x="6033756" y="2688827"/>
                  <a:pt x="6032697" y="2682477"/>
                </a:cubicBezTo>
                <a:cubicBezTo>
                  <a:pt x="6031637" y="2676126"/>
                  <a:pt x="6018938" y="2671894"/>
                  <a:pt x="6016822" y="2666602"/>
                </a:cubicBezTo>
                <a:cubicBezTo>
                  <a:pt x="6014705" y="2661310"/>
                  <a:pt x="6002006" y="2610510"/>
                  <a:pt x="6000947" y="2603102"/>
                </a:cubicBezTo>
                <a:cubicBezTo>
                  <a:pt x="5999889" y="2595694"/>
                  <a:pt x="6002006" y="2560769"/>
                  <a:pt x="6000947" y="2555477"/>
                </a:cubicBezTo>
                <a:cubicBezTo>
                  <a:pt x="5999889" y="2550185"/>
                  <a:pt x="5986131" y="2526901"/>
                  <a:pt x="5985073" y="2523727"/>
                </a:cubicBezTo>
                <a:cubicBezTo>
                  <a:pt x="5984014" y="2520552"/>
                  <a:pt x="5986131" y="2511026"/>
                  <a:pt x="5985073" y="2507852"/>
                </a:cubicBezTo>
                <a:cubicBezTo>
                  <a:pt x="5984014" y="2504677"/>
                  <a:pt x="5971313" y="2483510"/>
                  <a:pt x="5969198" y="2476102"/>
                </a:cubicBezTo>
                <a:cubicBezTo>
                  <a:pt x="5967080" y="2468694"/>
                  <a:pt x="5954380" y="2407310"/>
                  <a:pt x="5953323" y="2396727"/>
                </a:cubicBezTo>
                <a:cubicBezTo>
                  <a:pt x="5952264" y="2386144"/>
                  <a:pt x="5952264" y="2323702"/>
                  <a:pt x="5953323" y="2317352"/>
                </a:cubicBezTo>
                <a:cubicBezTo>
                  <a:pt x="5954380" y="2311002"/>
                  <a:pt x="5968139" y="2305710"/>
                  <a:pt x="5969198" y="2301477"/>
                </a:cubicBezTo>
                <a:cubicBezTo>
                  <a:pt x="5970255" y="2297244"/>
                  <a:pt x="5968139" y="2258085"/>
                  <a:pt x="5969198" y="2253852"/>
                </a:cubicBezTo>
                <a:cubicBezTo>
                  <a:pt x="5970255" y="2249618"/>
                  <a:pt x="5982955" y="2247502"/>
                  <a:pt x="5985073" y="2237978"/>
                </a:cubicBezTo>
                <a:cubicBezTo>
                  <a:pt x="5987190" y="2228452"/>
                  <a:pt x="5998830" y="2122618"/>
                  <a:pt x="6000947" y="2110977"/>
                </a:cubicBezTo>
                <a:cubicBezTo>
                  <a:pt x="6003063" y="2099335"/>
                  <a:pt x="6015763" y="2071818"/>
                  <a:pt x="6016822" y="2063352"/>
                </a:cubicBezTo>
                <a:cubicBezTo>
                  <a:pt x="6017879" y="2054885"/>
                  <a:pt x="6015763" y="1990326"/>
                  <a:pt x="6016822" y="1983977"/>
                </a:cubicBezTo>
                <a:cubicBezTo>
                  <a:pt x="6017880" y="1977627"/>
                  <a:pt x="6031637" y="1978685"/>
                  <a:pt x="6032697" y="1968102"/>
                </a:cubicBezTo>
                <a:cubicBezTo>
                  <a:pt x="6033756" y="1957518"/>
                  <a:pt x="6031638" y="1836868"/>
                  <a:pt x="6032697" y="1825227"/>
                </a:cubicBezTo>
                <a:cubicBezTo>
                  <a:pt x="6033755" y="1813585"/>
                  <a:pt x="6047514" y="1805118"/>
                  <a:pt x="6048572" y="1793477"/>
                </a:cubicBezTo>
                <a:cubicBezTo>
                  <a:pt x="6049629" y="1781835"/>
                  <a:pt x="6049629" y="1661185"/>
                  <a:pt x="6048572" y="1650602"/>
                </a:cubicBezTo>
                <a:cubicBezTo>
                  <a:pt x="6047514" y="1640019"/>
                  <a:pt x="6033755" y="1647427"/>
                  <a:pt x="6032697" y="1634727"/>
                </a:cubicBezTo>
                <a:cubicBezTo>
                  <a:pt x="6031638" y="1622027"/>
                  <a:pt x="6033756" y="1472802"/>
                  <a:pt x="6032697" y="1460102"/>
                </a:cubicBezTo>
                <a:cubicBezTo>
                  <a:pt x="6031637" y="1447402"/>
                  <a:pt x="6017880" y="1449519"/>
                  <a:pt x="6016822" y="1444227"/>
                </a:cubicBezTo>
                <a:cubicBezTo>
                  <a:pt x="6015763" y="1438935"/>
                  <a:pt x="6017879" y="1386018"/>
                  <a:pt x="6016822" y="1380727"/>
                </a:cubicBezTo>
                <a:cubicBezTo>
                  <a:pt x="6015763" y="1375435"/>
                  <a:pt x="6003063" y="1370143"/>
                  <a:pt x="6000947" y="1364852"/>
                </a:cubicBezTo>
                <a:cubicBezTo>
                  <a:pt x="5998830" y="1359560"/>
                  <a:pt x="5986131" y="1311935"/>
                  <a:pt x="5985073" y="1301352"/>
                </a:cubicBezTo>
                <a:cubicBezTo>
                  <a:pt x="5984014" y="1290769"/>
                  <a:pt x="5986131" y="1213511"/>
                  <a:pt x="5985073" y="1206102"/>
                </a:cubicBezTo>
                <a:cubicBezTo>
                  <a:pt x="5984014" y="1198694"/>
                  <a:pt x="5971313" y="1198693"/>
                  <a:pt x="5969198" y="1190227"/>
                </a:cubicBezTo>
                <a:cubicBezTo>
                  <a:pt x="5967080" y="1181760"/>
                  <a:pt x="5954380" y="1087569"/>
                  <a:pt x="5953323" y="1079102"/>
                </a:cubicBezTo>
                <a:cubicBezTo>
                  <a:pt x="5952264" y="1070635"/>
                  <a:pt x="5954381" y="1065344"/>
                  <a:pt x="5953323" y="1063227"/>
                </a:cubicBezTo>
                <a:cubicBezTo>
                  <a:pt x="5952264" y="1061110"/>
                  <a:pt x="5938505" y="1048411"/>
                  <a:pt x="5937448" y="1047352"/>
                </a:cubicBezTo>
                <a:cubicBezTo>
                  <a:pt x="5936388" y="1046294"/>
                  <a:pt x="5938504" y="1048411"/>
                  <a:pt x="5937448" y="1047352"/>
                </a:cubicBezTo>
                <a:cubicBezTo>
                  <a:pt x="5936389" y="1046294"/>
                  <a:pt x="5923688" y="1033593"/>
                  <a:pt x="5921572" y="1031477"/>
                </a:cubicBezTo>
                <a:cubicBezTo>
                  <a:pt x="5919455" y="1029360"/>
                  <a:pt x="5906755" y="1016660"/>
                  <a:pt x="5905697" y="1015602"/>
                </a:cubicBezTo>
                <a:cubicBezTo>
                  <a:pt x="5904638" y="1014544"/>
                  <a:pt x="5906755" y="1016660"/>
                  <a:pt x="5905697" y="1015602"/>
                </a:cubicBezTo>
                <a:cubicBezTo>
                  <a:pt x="5904639" y="1014544"/>
                  <a:pt x="5890881" y="1000785"/>
                  <a:pt x="5889823" y="999727"/>
                </a:cubicBezTo>
                <a:cubicBezTo>
                  <a:pt x="5888764" y="998668"/>
                  <a:pt x="5890881" y="1000785"/>
                  <a:pt x="5889823" y="999727"/>
                </a:cubicBezTo>
                <a:cubicBezTo>
                  <a:pt x="5888764" y="998668"/>
                  <a:pt x="5876063" y="984910"/>
                  <a:pt x="5873947" y="983852"/>
                </a:cubicBezTo>
                <a:cubicBezTo>
                  <a:pt x="5871830" y="982794"/>
                  <a:pt x="5860189" y="984910"/>
                  <a:pt x="5858073" y="983852"/>
                </a:cubicBezTo>
                <a:cubicBezTo>
                  <a:pt x="5855955" y="982794"/>
                  <a:pt x="5844313" y="969035"/>
                  <a:pt x="5842197" y="967977"/>
                </a:cubicBezTo>
                <a:cubicBezTo>
                  <a:pt x="5840080" y="966918"/>
                  <a:pt x="5828438" y="969035"/>
                  <a:pt x="5826322" y="967977"/>
                </a:cubicBezTo>
                <a:cubicBezTo>
                  <a:pt x="5824205" y="966918"/>
                  <a:pt x="5812564" y="953161"/>
                  <a:pt x="5810447" y="952102"/>
                </a:cubicBezTo>
                <a:cubicBezTo>
                  <a:pt x="5808330" y="951044"/>
                  <a:pt x="5796689" y="953161"/>
                  <a:pt x="5794573" y="952102"/>
                </a:cubicBezTo>
                <a:cubicBezTo>
                  <a:pt x="5792455" y="951044"/>
                  <a:pt x="5780813" y="937285"/>
                  <a:pt x="5778697" y="936227"/>
                </a:cubicBezTo>
                <a:cubicBezTo>
                  <a:pt x="5776580" y="935168"/>
                  <a:pt x="5764939" y="937285"/>
                  <a:pt x="5762823" y="936227"/>
                </a:cubicBezTo>
                <a:cubicBezTo>
                  <a:pt x="5760705" y="935168"/>
                  <a:pt x="5751180" y="921410"/>
                  <a:pt x="5746947" y="920352"/>
                </a:cubicBezTo>
                <a:cubicBezTo>
                  <a:pt x="5742714" y="919294"/>
                  <a:pt x="5703556" y="921410"/>
                  <a:pt x="5699323" y="920352"/>
                </a:cubicBezTo>
                <a:cubicBezTo>
                  <a:pt x="5695089" y="919294"/>
                  <a:pt x="5685563" y="906593"/>
                  <a:pt x="5683447" y="904477"/>
                </a:cubicBezTo>
                <a:cubicBezTo>
                  <a:pt x="5681331" y="902360"/>
                  <a:pt x="5669689" y="889660"/>
                  <a:pt x="5667573" y="888602"/>
                </a:cubicBezTo>
                <a:cubicBezTo>
                  <a:pt x="5665455" y="887544"/>
                  <a:pt x="5653813" y="889660"/>
                  <a:pt x="5651697" y="888602"/>
                </a:cubicBezTo>
                <a:cubicBezTo>
                  <a:pt x="5649580" y="887544"/>
                  <a:pt x="5637938" y="873785"/>
                  <a:pt x="5635822" y="872727"/>
                </a:cubicBezTo>
                <a:cubicBezTo>
                  <a:pt x="5633705" y="871668"/>
                  <a:pt x="5623123" y="873785"/>
                  <a:pt x="5619947" y="872727"/>
                </a:cubicBezTo>
                <a:cubicBezTo>
                  <a:pt x="5616771" y="871668"/>
                  <a:pt x="5590313" y="857911"/>
                  <a:pt x="5588197" y="856852"/>
                </a:cubicBezTo>
                <a:cubicBezTo>
                  <a:pt x="5586080" y="855794"/>
                  <a:pt x="5589255" y="857911"/>
                  <a:pt x="5588197" y="856852"/>
                </a:cubicBezTo>
                <a:cubicBezTo>
                  <a:pt x="5587139" y="855794"/>
                  <a:pt x="5574439" y="842035"/>
                  <a:pt x="5572323" y="840977"/>
                </a:cubicBezTo>
                <a:cubicBezTo>
                  <a:pt x="5570205" y="839918"/>
                  <a:pt x="5558563" y="842035"/>
                  <a:pt x="5556447" y="840977"/>
                </a:cubicBezTo>
                <a:cubicBezTo>
                  <a:pt x="5554330" y="839918"/>
                  <a:pt x="5542688" y="826160"/>
                  <a:pt x="5540572" y="825102"/>
                </a:cubicBezTo>
                <a:cubicBezTo>
                  <a:pt x="5538455" y="824044"/>
                  <a:pt x="5526814" y="826160"/>
                  <a:pt x="5524697" y="825102"/>
                </a:cubicBezTo>
                <a:cubicBezTo>
                  <a:pt x="5522580" y="824044"/>
                  <a:pt x="5510939" y="811343"/>
                  <a:pt x="5508823" y="809227"/>
                </a:cubicBezTo>
                <a:cubicBezTo>
                  <a:pt x="5506705" y="807110"/>
                  <a:pt x="5495063" y="795469"/>
                  <a:pt x="5492947" y="793352"/>
                </a:cubicBezTo>
                <a:cubicBezTo>
                  <a:pt x="5490830" y="791235"/>
                  <a:pt x="5479189" y="779594"/>
                  <a:pt x="5477073" y="777477"/>
                </a:cubicBezTo>
                <a:cubicBezTo>
                  <a:pt x="5474955" y="775360"/>
                  <a:pt x="5463313" y="762661"/>
                  <a:pt x="5461197" y="761602"/>
                </a:cubicBezTo>
                <a:cubicBezTo>
                  <a:pt x="5459080" y="760544"/>
                  <a:pt x="5447438" y="762661"/>
                  <a:pt x="5445322" y="761602"/>
                </a:cubicBezTo>
                <a:cubicBezTo>
                  <a:pt x="5443205" y="760544"/>
                  <a:pt x="5431564" y="746785"/>
                  <a:pt x="5429447" y="745727"/>
                </a:cubicBezTo>
                <a:cubicBezTo>
                  <a:pt x="5427331" y="744669"/>
                  <a:pt x="5415689" y="746785"/>
                  <a:pt x="5413573" y="745727"/>
                </a:cubicBezTo>
                <a:cubicBezTo>
                  <a:pt x="5411455" y="744669"/>
                  <a:pt x="5399813" y="730910"/>
                  <a:pt x="5397697" y="729852"/>
                </a:cubicBezTo>
                <a:cubicBezTo>
                  <a:pt x="5395581" y="728794"/>
                  <a:pt x="5383939" y="730910"/>
                  <a:pt x="5381823" y="729852"/>
                </a:cubicBezTo>
                <a:cubicBezTo>
                  <a:pt x="5379705" y="728794"/>
                  <a:pt x="5368063" y="716093"/>
                  <a:pt x="5365947" y="713977"/>
                </a:cubicBezTo>
                <a:cubicBezTo>
                  <a:pt x="5363830" y="711860"/>
                  <a:pt x="5351129" y="699160"/>
                  <a:pt x="5350072" y="698102"/>
                </a:cubicBezTo>
                <a:cubicBezTo>
                  <a:pt x="5349013" y="697044"/>
                  <a:pt x="5351130" y="699160"/>
                  <a:pt x="5350072" y="698102"/>
                </a:cubicBezTo>
                <a:cubicBezTo>
                  <a:pt x="5349013" y="697044"/>
                  <a:pt x="5336314" y="683285"/>
                  <a:pt x="5334197" y="682227"/>
                </a:cubicBezTo>
                <a:cubicBezTo>
                  <a:pt x="5332080" y="681168"/>
                  <a:pt x="5321497" y="683285"/>
                  <a:pt x="5318323" y="682227"/>
                </a:cubicBezTo>
                <a:cubicBezTo>
                  <a:pt x="5315147" y="681168"/>
                  <a:pt x="5289747" y="668469"/>
                  <a:pt x="5286573" y="666353"/>
                </a:cubicBezTo>
                <a:cubicBezTo>
                  <a:pt x="5283397" y="664236"/>
                  <a:pt x="5272813" y="652594"/>
                  <a:pt x="5270697" y="650477"/>
                </a:cubicBezTo>
                <a:cubicBezTo>
                  <a:pt x="5268580" y="648361"/>
                  <a:pt x="5256938" y="635660"/>
                  <a:pt x="5254822" y="634602"/>
                </a:cubicBezTo>
                <a:cubicBezTo>
                  <a:pt x="5252705" y="633544"/>
                  <a:pt x="5241064" y="635660"/>
                  <a:pt x="5238947" y="634602"/>
                </a:cubicBezTo>
                <a:cubicBezTo>
                  <a:pt x="5236830" y="633544"/>
                  <a:pt x="5224131" y="619786"/>
                  <a:pt x="5223073" y="618728"/>
                </a:cubicBezTo>
                <a:cubicBezTo>
                  <a:pt x="5222014" y="617669"/>
                  <a:pt x="5224131" y="619786"/>
                  <a:pt x="5223073" y="618728"/>
                </a:cubicBezTo>
                <a:cubicBezTo>
                  <a:pt x="5222014" y="617669"/>
                  <a:pt x="5209313" y="603911"/>
                  <a:pt x="5207197" y="602853"/>
                </a:cubicBezTo>
                <a:cubicBezTo>
                  <a:pt x="5205080" y="601794"/>
                  <a:pt x="5193439" y="603911"/>
                  <a:pt x="5191323" y="602853"/>
                </a:cubicBezTo>
                <a:cubicBezTo>
                  <a:pt x="5189205" y="601794"/>
                  <a:pt x="5177563" y="589094"/>
                  <a:pt x="5175447" y="586977"/>
                </a:cubicBezTo>
                <a:cubicBezTo>
                  <a:pt x="5173330" y="584860"/>
                  <a:pt x="5163805" y="572161"/>
                  <a:pt x="5159572" y="571103"/>
                </a:cubicBezTo>
                <a:cubicBezTo>
                  <a:pt x="5155338" y="570044"/>
                  <a:pt x="5116179" y="572161"/>
                  <a:pt x="5111947" y="571103"/>
                </a:cubicBezTo>
                <a:cubicBezTo>
                  <a:pt x="5107714" y="570044"/>
                  <a:pt x="5097130" y="556285"/>
                  <a:pt x="5096073" y="555228"/>
                </a:cubicBezTo>
                <a:cubicBezTo>
                  <a:pt x="5095014" y="554169"/>
                  <a:pt x="5097131" y="556285"/>
                  <a:pt x="5096073" y="555228"/>
                </a:cubicBezTo>
                <a:cubicBezTo>
                  <a:pt x="5095013" y="554169"/>
                  <a:pt x="5084430" y="540410"/>
                  <a:pt x="5080197" y="539352"/>
                </a:cubicBezTo>
                <a:cubicBezTo>
                  <a:pt x="5075963" y="538293"/>
                  <a:pt x="5036806" y="540410"/>
                  <a:pt x="5032573" y="539352"/>
                </a:cubicBezTo>
                <a:cubicBezTo>
                  <a:pt x="5028339" y="538293"/>
                  <a:pt x="5018813" y="525594"/>
                  <a:pt x="5016697" y="523478"/>
                </a:cubicBezTo>
                <a:cubicBezTo>
                  <a:pt x="5014580" y="521360"/>
                  <a:pt x="5003997" y="509719"/>
                  <a:pt x="5000823" y="507602"/>
                </a:cubicBezTo>
                <a:cubicBezTo>
                  <a:pt x="4997647" y="505486"/>
                  <a:pt x="4973305" y="492785"/>
                  <a:pt x="4969072" y="491727"/>
                </a:cubicBezTo>
                <a:cubicBezTo>
                  <a:pt x="4964838" y="490669"/>
                  <a:pt x="4940497" y="492785"/>
                  <a:pt x="4937323" y="491727"/>
                </a:cubicBezTo>
                <a:cubicBezTo>
                  <a:pt x="4934147" y="490669"/>
                  <a:pt x="4925680" y="476911"/>
                  <a:pt x="4921447" y="475853"/>
                </a:cubicBezTo>
                <a:cubicBezTo>
                  <a:pt x="4917213" y="474794"/>
                  <a:pt x="4878055" y="476911"/>
                  <a:pt x="4873822" y="475853"/>
                </a:cubicBezTo>
                <a:cubicBezTo>
                  <a:pt x="4869588" y="474794"/>
                  <a:pt x="4860064" y="462094"/>
                  <a:pt x="4857947" y="459978"/>
                </a:cubicBezTo>
                <a:cubicBezTo>
                  <a:pt x="4855831" y="457861"/>
                  <a:pt x="4845247" y="445160"/>
                  <a:pt x="4842073" y="444102"/>
                </a:cubicBezTo>
                <a:cubicBezTo>
                  <a:pt x="4838897" y="443044"/>
                  <a:pt x="4813497" y="445160"/>
                  <a:pt x="4810323" y="444102"/>
                </a:cubicBezTo>
                <a:cubicBezTo>
                  <a:pt x="4807147" y="443044"/>
                  <a:pt x="4796563" y="429286"/>
                  <a:pt x="4794447" y="428228"/>
                </a:cubicBezTo>
                <a:cubicBezTo>
                  <a:pt x="4792330" y="427169"/>
                  <a:pt x="4780688" y="429286"/>
                  <a:pt x="4778572" y="428228"/>
                </a:cubicBezTo>
                <a:cubicBezTo>
                  <a:pt x="4776455" y="427169"/>
                  <a:pt x="4764814" y="413410"/>
                  <a:pt x="4762697" y="412353"/>
                </a:cubicBezTo>
                <a:cubicBezTo>
                  <a:pt x="4760580" y="411294"/>
                  <a:pt x="4748939" y="413410"/>
                  <a:pt x="4746823" y="412353"/>
                </a:cubicBezTo>
                <a:cubicBezTo>
                  <a:pt x="4744705" y="411294"/>
                  <a:pt x="4733063" y="398594"/>
                  <a:pt x="4730947" y="396477"/>
                </a:cubicBezTo>
                <a:cubicBezTo>
                  <a:pt x="4728830" y="394360"/>
                  <a:pt x="4718247" y="382719"/>
                  <a:pt x="4715073" y="380603"/>
                </a:cubicBezTo>
                <a:cubicBezTo>
                  <a:pt x="4711897" y="378486"/>
                  <a:pt x="4686497" y="366844"/>
                  <a:pt x="4683323" y="364727"/>
                </a:cubicBezTo>
                <a:cubicBezTo>
                  <a:pt x="4680147" y="362611"/>
                  <a:pt x="4669564" y="349910"/>
                  <a:pt x="4667447" y="348852"/>
                </a:cubicBezTo>
                <a:cubicBezTo>
                  <a:pt x="4665330" y="347794"/>
                  <a:pt x="4653689" y="349910"/>
                  <a:pt x="4651573" y="348852"/>
                </a:cubicBezTo>
                <a:cubicBezTo>
                  <a:pt x="4649455" y="347794"/>
                  <a:pt x="4637814" y="335094"/>
                  <a:pt x="4635698" y="332978"/>
                </a:cubicBezTo>
                <a:cubicBezTo>
                  <a:pt x="4633581" y="330861"/>
                  <a:pt x="4620881" y="318161"/>
                  <a:pt x="4619823" y="317103"/>
                </a:cubicBezTo>
                <a:cubicBezTo>
                  <a:pt x="4618763" y="316044"/>
                  <a:pt x="4620880" y="318161"/>
                  <a:pt x="4619823" y="317103"/>
                </a:cubicBezTo>
                <a:cubicBezTo>
                  <a:pt x="4618764" y="316044"/>
                  <a:pt x="4606063" y="303344"/>
                  <a:pt x="4603947" y="301227"/>
                </a:cubicBezTo>
                <a:cubicBezTo>
                  <a:pt x="4601830" y="299110"/>
                  <a:pt x="4590189" y="287469"/>
                  <a:pt x="4588073" y="285353"/>
                </a:cubicBezTo>
                <a:cubicBezTo>
                  <a:pt x="4585955" y="283236"/>
                  <a:pt x="4574314" y="271594"/>
                  <a:pt x="4572197" y="269478"/>
                </a:cubicBezTo>
                <a:cubicBezTo>
                  <a:pt x="4570081" y="267361"/>
                  <a:pt x="4557381" y="254660"/>
                  <a:pt x="4556323" y="253602"/>
                </a:cubicBezTo>
                <a:cubicBezTo>
                  <a:pt x="4555264" y="252543"/>
                  <a:pt x="4557381" y="254660"/>
                  <a:pt x="4556323" y="253602"/>
                </a:cubicBezTo>
                <a:cubicBezTo>
                  <a:pt x="4555264" y="252543"/>
                  <a:pt x="4543623" y="239844"/>
                  <a:pt x="4540448" y="237728"/>
                </a:cubicBezTo>
                <a:cubicBezTo>
                  <a:pt x="4537273" y="235611"/>
                  <a:pt x="4513988" y="223969"/>
                  <a:pt x="4508697" y="221852"/>
                </a:cubicBezTo>
                <a:cubicBezTo>
                  <a:pt x="4503405" y="219736"/>
                  <a:pt x="4467423" y="207035"/>
                  <a:pt x="4461073" y="205977"/>
                </a:cubicBezTo>
                <a:cubicBezTo>
                  <a:pt x="4454722" y="204919"/>
                  <a:pt x="4417680" y="207035"/>
                  <a:pt x="4413447" y="205977"/>
                </a:cubicBezTo>
                <a:cubicBezTo>
                  <a:pt x="4409213" y="204919"/>
                  <a:pt x="4402864" y="191161"/>
                  <a:pt x="4397573" y="190103"/>
                </a:cubicBezTo>
                <a:cubicBezTo>
                  <a:pt x="4392281" y="189044"/>
                  <a:pt x="4340422" y="191161"/>
                  <a:pt x="4334073" y="190103"/>
                </a:cubicBezTo>
                <a:cubicBezTo>
                  <a:pt x="4327722" y="189044"/>
                  <a:pt x="4323489" y="175286"/>
                  <a:pt x="4302323" y="174228"/>
                </a:cubicBezTo>
                <a:cubicBezTo>
                  <a:pt x="4281155" y="173169"/>
                  <a:pt x="4036680" y="175286"/>
                  <a:pt x="4016573" y="174228"/>
                </a:cubicBezTo>
                <a:cubicBezTo>
                  <a:pt x="3996464" y="173169"/>
                  <a:pt x="4007047" y="159410"/>
                  <a:pt x="4000698" y="158352"/>
                </a:cubicBezTo>
                <a:cubicBezTo>
                  <a:pt x="3994348" y="157294"/>
                  <a:pt x="3928730" y="159410"/>
                  <a:pt x="3921323" y="158352"/>
                </a:cubicBezTo>
                <a:cubicBezTo>
                  <a:pt x="3913913" y="157294"/>
                  <a:pt x="3893805" y="143536"/>
                  <a:pt x="3889572" y="142478"/>
                </a:cubicBezTo>
                <a:cubicBezTo>
                  <a:pt x="3885338" y="141419"/>
                  <a:pt x="3860997" y="143536"/>
                  <a:pt x="3857823" y="142478"/>
                </a:cubicBezTo>
                <a:cubicBezTo>
                  <a:pt x="3854647" y="141419"/>
                  <a:pt x="3847238" y="127661"/>
                  <a:pt x="3841947" y="126603"/>
                </a:cubicBezTo>
                <a:cubicBezTo>
                  <a:pt x="3836655" y="125544"/>
                  <a:pt x="3783738" y="127661"/>
                  <a:pt x="3778448" y="126603"/>
                </a:cubicBezTo>
                <a:cubicBezTo>
                  <a:pt x="3773156" y="125544"/>
                  <a:pt x="3764689" y="111785"/>
                  <a:pt x="3762573" y="110727"/>
                </a:cubicBezTo>
                <a:cubicBezTo>
                  <a:pt x="3760455" y="109669"/>
                  <a:pt x="3749871" y="111785"/>
                  <a:pt x="3746697" y="110727"/>
                </a:cubicBezTo>
                <a:cubicBezTo>
                  <a:pt x="3743522" y="109669"/>
                  <a:pt x="3721298" y="95911"/>
                  <a:pt x="3714948" y="94853"/>
                </a:cubicBezTo>
                <a:cubicBezTo>
                  <a:pt x="3708598" y="93794"/>
                  <a:pt x="3657797" y="95911"/>
                  <a:pt x="3651447" y="94853"/>
                </a:cubicBezTo>
                <a:cubicBezTo>
                  <a:pt x="3645097" y="93794"/>
                  <a:pt x="3635573" y="80036"/>
                  <a:pt x="3619698" y="78978"/>
                </a:cubicBezTo>
                <a:cubicBezTo>
                  <a:pt x="3603822" y="77919"/>
                  <a:pt x="3428138" y="80036"/>
                  <a:pt x="3413322" y="78978"/>
                </a:cubicBezTo>
                <a:cubicBezTo>
                  <a:pt x="3398506" y="77919"/>
                  <a:pt x="3454598" y="65219"/>
                  <a:pt x="3397448" y="63103"/>
                </a:cubicBezTo>
                <a:cubicBezTo>
                  <a:pt x="3340298" y="60986"/>
                  <a:pt x="2617455" y="48286"/>
                  <a:pt x="2556072" y="47228"/>
                </a:cubicBezTo>
                <a:cubicBezTo>
                  <a:pt x="2494688" y="46169"/>
                  <a:pt x="2484105" y="48286"/>
                  <a:pt x="2476697" y="47228"/>
                </a:cubicBezTo>
                <a:cubicBezTo>
                  <a:pt x="2469289" y="46169"/>
                  <a:pt x="2452355" y="33469"/>
                  <a:pt x="2444947" y="31352"/>
                </a:cubicBezTo>
                <a:cubicBezTo>
                  <a:pt x="2437539" y="29236"/>
                  <a:pt x="2377213" y="16536"/>
                  <a:pt x="2365572" y="15478"/>
                </a:cubicBezTo>
                <a:cubicBezTo>
                  <a:pt x="2353930" y="14419"/>
                  <a:pt x="2278789" y="16536"/>
                  <a:pt x="2270323" y="15478"/>
                </a:cubicBezTo>
                <a:cubicBezTo>
                  <a:pt x="2261856" y="14419"/>
                  <a:pt x="2306306" y="-397"/>
                  <a:pt x="2238572" y="-397"/>
                </a:cubicBezTo>
                <a:cubicBezTo>
                  <a:pt x="2170839" y="-397"/>
                  <a:pt x="1322056" y="14419"/>
                  <a:pt x="1254323" y="15478"/>
                </a:cubicBezTo>
                <a:cubicBezTo>
                  <a:pt x="1186589" y="16536"/>
                  <a:pt x="1226806" y="14419"/>
                  <a:pt x="1222572" y="15478"/>
                </a:cubicBezTo>
                <a:cubicBezTo>
                  <a:pt x="1218339" y="16536"/>
                  <a:pt x="1193997" y="29236"/>
                  <a:pt x="1190822" y="31352"/>
                </a:cubicBezTo>
                <a:cubicBezTo>
                  <a:pt x="1187647" y="33469"/>
                  <a:pt x="1177064" y="46169"/>
                  <a:pt x="1174947" y="47228"/>
                </a:cubicBezTo>
                <a:cubicBezTo>
                  <a:pt x="1172830" y="48286"/>
                  <a:pt x="1161189" y="46169"/>
                  <a:pt x="1159073" y="47228"/>
                </a:cubicBezTo>
                <a:cubicBezTo>
                  <a:pt x="1156955" y="48286"/>
                  <a:pt x="1145314" y="62044"/>
                  <a:pt x="1143197" y="63103"/>
                </a:cubicBezTo>
                <a:cubicBezTo>
                  <a:pt x="1141081" y="64161"/>
                  <a:pt x="1129439" y="62044"/>
                  <a:pt x="1127322" y="63103"/>
                </a:cubicBezTo>
                <a:cubicBezTo>
                  <a:pt x="1125206" y="64161"/>
                  <a:pt x="1115681" y="77919"/>
                  <a:pt x="1111448" y="78978"/>
                </a:cubicBezTo>
                <a:cubicBezTo>
                  <a:pt x="1107214" y="80036"/>
                  <a:pt x="1068056" y="77919"/>
                  <a:pt x="1063823" y="78978"/>
                </a:cubicBezTo>
                <a:cubicBezTo>
                  <a:pt x="1059589" y="80036"/>
                  <a:pt x="1050064" y="92736"/>
                  <a:pt x="1047947" y="94853"/>
                </a:cubicBezTo>
                <a:cubicBezTo>
                  <a:pt x="1045831" y="96969"/>
                  <a:pt x="1034189" y="108610"/>
                  <a:pt x="1032072" y="110727"/>
                </a:cubicBezTo>
                <a:cubicBezTo>
                  <a:pt x="1029955" y="112844"/>
                  <a:pt x="1017256" y="125544"/>
                  <a:pt x="1016198" y="126603"/>
                </a:cubicBezTo>
                <a:cubicBezTo>
                  <a:pt x="1015139" y="127661"/>
                  <a:pt x="1017256" y="125544"/>
                  <a:pt x="1016198" y="126603"/>
                </a:cubicBezTo>
                <a:cubicBezTo>
                  <a:pt x="1015139" y="127661"/>
                  <a:pt x="1002439" y="140361"/>
                  <a:pt x="1000322" y="142478"/>
                </a:cubicBezTo>
                <a:cubicBezTo>
                  <a:pt x="998206" y="144594"/>
                  <a:pt x="986564" y="156235"/>
                  <a:pt x="984447" y="158352"/>
                </a:cubicBezTo>
                <a:cubicBezTo>
                  <a:pt x="982331" y="160469"/>
                  <a:pt x="970689" y="172111"/>
                  <a:pt x="968572" y="174228"/>
                </a:cubicBezTo>
                <a:cubicBezTo>
                  <a:pt x="966456" y="176344"/>
                  <a:pt x="954814" y="187986"/>
                  <a:pt x="952697" y="190103"/>
                </a:cubicBezTo>
                <a:cubicBezTo>
                  <a:pt x="950581" y="192219"/>
                  <a:pt x="938939" y="203861"/>
                  <a:pt x="936822" y="205977"/>
                </a:cubicBezTo>
                <a:cubicBezTo>
                  <a:pt x="934706" y="208094"/>
                  <a:pt x="923064" y="219736"/>
                  <a:pt x="920948" y="221852"/>
                </a:cubicBezTo>
                <a:cubicBezTo>
                  <a:pt x="918831" y="223969"/>
                  <a:pt x="906131" y="235611"/>
                  <a:pt x="905072" y="237728"/>
                </a:cubicBezTo>
                <a:cubicBezTo>
                  <a:pt x="904014" y="239844"/>
                  <a:pt x="906131" y="251485"/>
                  <a:pt x="905072" y="253602"/>
                </a:cubicBezTo>
                <a:cubicBezTo>
                  <a:pt x="904014" y="255719"/>
                  <a:pt x="890255" y="268419"/>
                  <a:pt x="889197" y="269478"/>
                </a:cubicBezTo>
                <a:cubicBezTo>
                  <a:pt x="888139" y="270535"/>
                  <a:pt x="890255" y="268419"/>
                  <a:pt x="889197" y="269478"/>
                </a:cubicBezTo>
                <a:cubicBezTo>
                  <a:pt x="888139" y="270535"/>
                  <a:pt x="874381" y="283236"/>
                  <a:pt x="873323" y="285353"/>
                </a:cubicBezTo>
                <a:cubicBezTo>
                  <a:pt x="872264" y="287469"/>
                  <a:pt x="874381" y="299110"/>
                  <a:pt x="873323" y="301227"/>
                </a:cubicBezTo>
                <a:cubicBezTo>
                  <a:pt x="872264" y="303344"/>
                  <a:pt x="858506" y="314986"/>
                  <a:pt x="857447" y="317103"/>
                </a:cubicBezTo>
                <a:cubicBezTo>
                  <a:pt x="856389" y="319219"/>
                  <a:pt x="858506" y="330861"/>
                  <a:pt x="857447" y="332978"/>
                </a:cubicBezTo>
                <a:cubicBezTo>
                  <a:pt x="856389" y="335094"/>
                  <a:pt x="843689" y="346736"/>
                  <a:pt x="841572" y="348852"/>
                </a:cubicBezTo>
                <a:cubicBezTo>
                  <a:pt x="839456" y="350969"/>
                  <a:pt x="827814" y="361552"/>
                  <a:pt x="825698" y="364727"/>
                </a:cubicBezTo>
                <a:cubicBezTo>
                  <a:pt x="823581" y="367902"/>
                  <a:pt x="811939" y="392244"/>
                  <a:pt x="809822" y="396477"/>
                </a:cubicBezTo>
                <a:cubicBezTo>
                  <a:pt x="807706" y="400710"/>
                  <a:pt x="796064" y="423994"/>
                  <a:pt x="793947" y="428228"/>
                </a:cubicBezTo>
                <a:cubicBezTo>
                  <a:pt x="791831" y="432461"/>
                  <a:pt x="779131" y="456803"/>
                  <a:pt x="778073" y="459978"/>
                </a:cubicBezTo>
                <a:cubicBezTo>
                  <a:pt x="777014" y="463152"/>
                  <a:pt x="778073" y="474794"/>
                  <a:pt x="778073" y="475853"/>
                </a:cubicBezTo>
              </a:path>
            </a:pathLst>
          </a:custGeom>
          <a:solidFill>
            <a:srgbClr val="42c7f1">
              <a:alpha val="50000"/>
            </a:srgbClr>
          </a:solidFill>
          <a:ln algn="ctr">
            <a:solidFill>
              <a:srgbClr val="42c7f1"/>
            </a:solidFill>
          </a:ln>
        </p:spPr>
        <p:style>
          <a:lnRef idx="2">
            <a:schemeClr val="accent2">
              <a:shade val="2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p>
            <a:pPr algn="ctr">
              <a:defRPr lang="ko-KR" altLang="en-US"/>
            </a:pPr>
            <a:endParaRPr lang="en-US" altLang="ko-KR"/>
          </a:p>
        </p:txBody>
      </p:sp>
      <p:cxnSp>
        <p:nvCxnSpPr>
          <p:cNvPr id="267" name=""/>
          <p:cNvCxnSpPr/>
          <p:nvPr/>
        </p:nvCxnSpPr>
        <p:spPr>
          <a:xfrm>
            <a:off x="8088165" y="3495040"/>
            <a:ext cx="3621174" cy="0"/>
          </a:xfrm>
          <a:prstGeom prst="line">
            <a:avLst/>
          </a:prstGeom>
          <a:ln algn="ctr">
            <a:solidFill>
              <a:srgbClr val="42c7f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</p:sld>
</file>

<file path=ppt/slides/slide1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009437" y="288779"/>
            <a:ext cx="36730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난방 시스템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Rectangle 22"/>
          <p:cNvSpPr/>
          <p:nvPr/>
        </p:nvSpPr>
        <p:spPr>
          <a:xfrm>
            <a:off x="0" y="5138494"/>
            <a:ext cx="12192000" cy="17195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pic>
        <p:nvPicPr>
          <p:cNvPr id="240" name="그림 39"/>
          <p:cNvPicPr>
            <a:picLocks noChangeAspect="1"/>
          </p:cNvPicPr>
          <p:nvPr/>
        </p:nvPicPr>
        <p:blipFill rotWithShape="1">
          <a:blip r:embed="rId2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  <p:cxnSp>
        <p:nvCxnSpPr>
          <p:cNvPr id="247" name=""/>
          <p:cNvCxnSpPr/>
          <p:nvPr/>
        </p:nvCxnSpPr>
        <p:spPr>
          <a:xfrm flipV="1">
            <a:off x="5622618" y="3996266"/>
            <a:ext cx="1055699" cy="17687"/>
          </a:xfrm>
          <a:prstGeom prst="straightConnector1">
            <a:avLst/>
          </a:prstGeom>
          <a:ln w="50800" algn="ctr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7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1723588" y="1417492"/>
            <a:ext cx="3109648" cy="5148143"/>
          </a:xfrm>
          <a:prstGeom prst="rect">
            <a:avLst/>
          </a:prstGeom>
        </p:spPr>
      </p:pic>
      <p:pic>
        <p:nvPicPr>
          <p:cNvPr id="273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7431057" y="1366281"/>
            <a:ext cx="3087220" cy="5120267"/>
          </a:xfrm>
          <a:prstGeom prst="rect">
            <a:avLst/>
          </a:prstGeom>
        </p:spPr>
      </p:pic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</p:sld>
</file>

<file path=ppt/slides/slide1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직사각형 16387"/>
          <p:cNvSpPr/>
          <p:nvPr/>
        </p:nvSpPr>
        <p:spPr>
          <a:xfrm>
            <a:off x="806817" y="0"/>
            <a:ext cx="1829604" cy="131826"/>
          </a:xfrm>
          <a:prstGeom prst="rect">
            <a:avLst/>
          </a:prstGeom>
          <a:solidFill>
            <a:srgbClr val="2f6da0"/>
          </a:solidFill>
          <a:ln w="12674" cap="flat" cmpd="sng" algn="ctr">
            <a:solidFill>
              <a:srgbClr val="31538f"/>
            </a:solidFill>
            <a:prstDash val="solid"/>
            <a:round/>
          </a:ln>
        </p:spPr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16389" name="직사각형 16388"/>
          <p:cNvSpPr/>
          <p:nvPr/>
        </p:nvSpPr>
        <p:spPr>
          <a:xfrm flipV="1">
            <a:off x="0" y="6834105"/>
            <a:ext cx="12191204" cy="46063"/>
          </a:xfrm>
          <a:prstGeom prst="rect">
            <a:avLst/>
          </a:prstGeom>
          <a:solidFill>
            <a:srgbClr val="2f6da0"/>
          </a:solidFill>
          <a:ln w="12674" cap="flat" cmpd="sng" algn="ctr">
            <a:solidFill>
              <a:srgbClr val="31538f"/>
            </a:solidFill>
            <a:prstDash val="solid"/>
            <a:round/>
          </a:ln>
        </p:spPr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16390" name="TextBox 16389"/>
          <p:cNvSpPr txBox="1"/>
          <p:nvPr/>
        </p:nvSpPr>
        <p:spPr>
          <a:xfrm>
            <a:off x="1065565" y="287494"/>
            <a:ext cx="2397725" cy="6916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  <p:txBody>
          <a:bodyPr vert="horz" wrap="none" lIns="91440" tIns="45720" rIns="91440" bIns="45720" anchor="t">
            <a:spAutoFit/>
          </a:bodyPr>
          <a:lstStyle/>
          <a:p>
            <a:pPr marL="0" lvl="0" indent="0" algn="l" defTabSz="90003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ko-KR" altLang="en-US"/>
            </a:pPr>
            <a:r>
              <a:rPr lang="ko-KR" altLang="en-US" sz="4000" b="1" i="0">
                <a:solidFill>
                  <a:srgbClr val="000000">
                    <a:alpha val="100000"/>
                  </a:srgbClr>
                </a:solidFill>
                <a:latin typeface="맑은 고딕"/>
                <a:sym typeface="Wingdings"/>
              </a:rPr>
              <a:t>주요 기능</a:t>
            </a:r>
            <a:endParaRPr lang="ko-KR" altLang="en-US" sz="4000" b="1" i="0">
              <a:solidFill>
                <a:srgbClr val="000000">
                  <a:alpha val="100000"/>
                </a:srgbClr>
              </a:solidFill>
              <a:latin typeface="맑은 고딕"/>
              <a:sym typeface="Wingdings"/>
            </a:endParaRPr>
          </a:p>
        </p:txBody>
      </p:sp>
      <p:cxnSp>
        <p:nvCxnSpPr>
          <p:cNvPr id="16391" name="직선 연결선 16390"/>
          <p:cNvCxnSpPr/>
          <p:nvPr/>
        </p:nvCxnSpPr>
        <p:spPr>
          <a:xfrm>
            <a:off x="806817" y="1072034"/>
            <a:ext cx="11384387" cy="0"/>
          </a:xfrm>
          <a:prstGeom prst="line">
            <a:avLst/>
          </a:prstGeom>
          <a:ln w="6309" cap="flat" cmpd="sng" algn="ctr">
            <a:solidFill>
              <a:srgbClr val="bfbfbf"/>
            </a:solidFill>
            <a:prstDash val="solid"/>
            <a:round/>
          </a:ln>
        </p:spPr>
      </p:cxnSp>
      <p:sp>
        <p:nvSpPr>
          <p:cNvPr id="16392" name="직사각형 16391"/>
          <p:cNvSpPr/>
          <p:nvPr/>
        </p:nvSpPr>
        <p:spPr>
          <a:xfrm>
            <a:off x="1060922" y="4759886"/>
            <a:ext cx="3281261" cy="33355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16393" name="자유형: 도형 16392"/>
          <p:cNvSpPr/>
          <p:nvPr/>
        </p:nvSpPr>
        <p:spPr>
          <a:xfrm>
            <a:off x="8257174" y="1494538"/>
            <a:ext cx="2137758" cy="3441675"/>
          </a:xfrm>
          <a:custGeom>
            <a:avLst/>
            <a:gd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38287" h="61640">
                <a:moveTo>
                  <a:pt x="0" y="0"/>
                </a:moveTo>
                <a:lnTo>
                  <a:pt x="38287" y="0"/>
                </a:lnTo>
                <a:lnTo>
                  <a:pt x="38287" y="61639"/>
                </a:lnTo>
                <a:lnTo>
                  <a:pt x="0" y="61639"/>
                </a:lnTo>
                <a:close/>
              </a:path>
            </a:pathLst>
          </a:custGeom>
          <a:noFill/>
          <a:ln w="9525" cap="flat" cmpd="sng" algn="ctr">
            <a:noFill/>
            <a:prstDash val="solid"/>
            <a:round/>
          </a:ln>
        </p:spPr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16394" name="양쪽 대괄호 16393"/>
          <p:cNvSpPr/>
          <p:nvPr/>
        </p:nvSpPr>
        <p:spPr>
          <a:xfrm>
            <a:off x="6724501" y="1918550"/>
            <a:ext cx="4583964" cy="2171092"/>
          </a:xfrm>
          <a:prstGeom prst="bracketPair">
            <a:avLst>
              <a:gd name="adj" fmla="val 16667"/>
            </a:avLst>
          </a:prstGeom>
          <a:noFill/>
          <a:ln w="57119" cap="flat" cmpd="sng" algn="ctr">
            <a:solidFill>
              <a:srgbClr val="595959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16395" name="직사각형 16394"/>
          <p:cNvSpPr/>
          <p:nvPr/>
        </p:nvSpPr>
        <p:spPr>
          <a:xfrm>
            <a:off x="6548229" y="4766251"/>
            <a:ext cx="3589359" cy="67180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16396" name="TextBox 16395"/>
          <p:cNvSpPr txBox="1"/>
          <p:nvPr/>
        </p:nvSpPr>
        <p:spPr>
          <a:xfrm>
            <a:off x="7156496" y="2711094"/>
            <a:ext cx="3324200" cy="5636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  <p:txBody>
          <a:bodyPr vert="horz" wrap="square" lIns="91440" tIns="45720" rIns="91440" bIns="45720" anchor="t">
            <a:spAutoFit/>
          </a:bodyPr>
          <a:lstStyle/>
          <a:p>
            <a:pPr marL="0" lvl="0" indent="0" algn="just" defTabSz="90003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ko-KR" altLang="en-US"/>
            </a:pPr>
            <a:r>
              <a:rPr lang="ko-KR" altLang="en-US" sz="3100" b="1" i="0">
                <a:solidFill>
                  <a:srgbClr val="404040">
                    <a:alpha val="100000"/>
                  </a:srgbClr>
                </a:solidFill>
                <a:latin typeface="맑은 고딕"/>
                <a:sym typeface="Wingdings"/>
              </a:rPr>
              <a:t>난방 시스템</a:t>
            </a:r>
            <a:endParaRPr lang="ko-KR" altLang="ko-KR" sz="3100" b="1" i="0">
              <a:solidFill>
                <a:srgbClr val="404040">
                  <a:alpha val="100000"/>
                </a:srgbClr>
              </a:solidFill>
              <a:latin typeface="맑은 고딕"/>
              <a:sym typeface="Wingdings"/>
            </a:endParaRPr>
          </a:p>
        </p:txBody>
      </p:sp>
      <p:pic>
        <p:nvPicPr>
          <p:cNvPr id="16397" name="그림 16396"/>
          <p:cNvPicPr>
            <a:picLocks noChangeAspect="1"/>
          </p:cNvPicPr>
          <p:nvPr/>
        </p:nvPicPr>
        <p:blipFill rotWithShape="1">
          <a:blip r:embed="rId2">
            <a:lum/>
          </a:blip>
          <a:stretch>
            <a:fillRect/>
          </a:stretch>
        </p:blipFill>
        <p:spPr>
          <a:xfrm>
            <a:off x="436742" y="1659698"/>
            <a:ext cx="5509584" cy="44914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</p:pic>
      <p:sp>
        <p:nvSpPr>
          <p:cNvPr id="16398" name="TextBox 16397"/>
          <p:cNvSpPr txBox="1"/>
          <p:nvPr/>
        </p:nvSpPr>
        <p:spPr>
          <a:xfrm>
            <a:off x="7185082" y="3428945"/>
            <a:ext cx="3916553" cy="560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  <p:txBody>
          <a:bodyPr vert="horz" wrap="square" lIns="91440" tIns="45720" rIns="91440" bIns="45720" anchor="t">
            <a:spAutoFit/>
          </a:bodyPr>
          <a:lstStyle/>
          <a:p>
            <a:pPr marL="0" lvl="0" indent="0" algn="just" defTabSz="90003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ko-KR" altLang="en-US"/>
            </a:pPr>
            <a:r>
              <a:rPr lang="ko-KR" altLang="en-US" sz="3100" b="1" i="0">
                <a:solidFill>
                  <a:srgbClr val="404040">
                    <a:alpha val="100000"/>
                  </a:srgbClr>
                </a:solidFill>
                <a:latin typeface="맑은 고딕"/>
                <a:sym typeface="Wingdings"/>
              </a:rPr>
              <a:t>실시간 모니터링</a:t>
            </a:r>
            <a:endParaRPr lang="ko-KR" altLang="ko-KR" sz="3100" b="1" i="0">
              <a:solidFill>
                <a:srgbClr val="404040">
                  <a:alpha val="100000"/>
                </a:srgbClr>
              </a:solidFill>
              <a:latin typeface="맑은 고딕"/>
              <a:sym typeface="Wingdings"/>
            </a:endParaRPr>
          </a:p>
        </p:txBody>
      </p:sp>
      <p:sp>
        <p:nvSpPr>
          <p:cNvPr id="16399" name="TextBox 16398"/>
          <p:cNvSpPr txBox="1"/>
          <p:nvPr/>
        </p:nvSpPr>
        <p:spPr>
          <a:xfrm>
            <a:off x="7149914" y="1978320"/>
            <a:ext cx="5030164" cy="562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  <p:txBody>
          <a:bodyPr vert="horz" wrap="square" lIns="91440" tIns="45720" rIns="91440" bIns="45720" anchor="t">
            <a:spAutoFit/>
          </a:bodyPr>
          <a:lstStyle/>
          <a:p>
            <a:pPr marL="0" lvl="0" indent="0" algn="just" defTabSz="90003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ko-KR" altLang="en-US"/>
            </a:pPr>
            <a:r>
              <a:rPr lang="ko-KR" altLang="en-US" sz="3100" b="1" i="0">
                <a:solidFill>
                  <a:srgbClr val="404040">
                    <a:alpha val="100000"/>
                  </a:srgbClr>
                </a:solidFill>
                <a:latin typeface="맑은 고딕"/>
                <a:sym typeface="Wingdings"/>
              </a:rPr>
              <a:t>물 &amp; 사료 자동 공급</a:t>
            </a:r>
            <a:endParaRPr lang="ko-KR" altLang="ko-KR" sz="3100" b="1" i="0">
              <a:solidFill>
                <a:srgbClr val="404040">
                  <a:alpha val="100000"/>
                </a:srgbClr>
              </a:solidFill>
              <a:latin typeface="맑은 고딕"/>
              <a:sym typeface="Wingdings"/>
            </a:endParaRPr>
          </a:p>
        </p:txBody>
      </p:sp>
      <p:sp>
        <p:nvSpPr>
          <p:cNvPr id="16400" name="TextBox 16399"/>
          <p:cNvSpPr txBox="1"/>
          <p:nvPr/>
        </p:nvSpPr>
        <p:spPr>
          <a:xfrm>
            <a:off x="5931977" y="2401411"/>
            <a:ext cx="571807" cy="100531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  <p:txBody>
          <a:bodyPr vert="horz" wrap="none" lIns="91440" tIns="45720" rIns="91440" bIns="45720" anchor="t">
            <a:spAutoFit/>
          </a:bodyPr>
          <a:lstStyle/>
          <a:p>
            <a:pPr marL="0" lvl="0" indent="0" algn="l" defTabSz="900039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ko-KR" altLang="en-US"/>
            </a:pPr>
            <a:r>
              <a:rPr lang="en-US" altLang="ko-KR" sz="6000" b="1" i="0">
                <a:solidFill>
                  <a:srgbClr val="1b1760">
                    <a:alpha val="100000"/>
                  </a:srgbClr>
                </a:solidFill>
                <a:latin typeface="Calibri"/>
                <a:ea typeface="맑은 고딕"/>
                <a:sym typeface="Wingdings"/>
              </a:rPr>
              <a:t>+</a:t>
            </a:r>
            <a:endParaRPr lang="ko-KR" altLang="ko-KR" sz="6000" b="1" i="0">
              <a:solidFill>
                <a:srgbClr val="1b1760">
                  <a:alpha val="100000"/>
                </a:srgbClr>
              </a:solidFill>
              <a:latin typeface="Calibri"/>
              <a:ea typeface="맑은 고딕"/>
              <a:sym typeface="Wingdings"/>
            </a:endParaRPr>
          </a:p>
        </p:txBody>
      </p:sp>
      <p:sp>
        <p:nvSpPr>
          <p:cNvPr id="16404" name="직사각형 16403"/>
          <p:cNvSpPr/>
          <p:nvPr/>
        </p:nvSpPr>
        <p:spPr>
          <a:xfrm>
            <a:off x="-441488" y="-3135085"/>
            <a:ext cx="257288" cy="3716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</p:spPr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pic>
        <p:nvPicPr>
          <p:cNvPr id="16407" name="그림 39"/>
          <p:cNvPicPr>
            <a:picLocks noChangeAspect="1"/>
          </p:cNvPicPr>
          <p:nvPr/>
        </p:nvPicPr>
        <p:blipFill rotWithShape="1">
          <a:blip r:embed="rId3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  <p:pic>
        <p:nvPicPr>
          <p:cNvPr id="16409" name="Picture 2" descr="스마트폰 아이콘 - 다운로드 416 무료 아이콘 PNG, SVG, ICO 나 ICNS"/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9360662" y="4382941"/>
            <a:ext cx="1695450" cy="1695450"/>
          </a:xfrm>
          <a:prstGeom prst="rect">
            <a:avLst/>
          </a:prstGeom>
          <a:noFill/>
        </p:spPr>
      </p:pic>
      <p:sp>
        <p:nvSpPr>
          <p:cNvPr id="16410" name="TextBox 31"/>
          <p:cNvSpPr txBox="1"/>
          <p:nvPr/>
        </p:nvSpPr>
        <p:spPr>
          <a:xfrm>
            <a:off x="8627419" y="6233206"/>
            <a:ext cx="2578312" cy="4704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 lang="ko-KR" altLang="en-US"/>
            </a:pPr>
            <a:r>
              <a:rPr lang="ko-KR" altLang="en-US" sz="2500" b="1"/>
              <a:t>애플리케이션</a:t>
            </a:r>
            <a:endParaRPr lang="ko-KR" altLang="en-US" sz="2500" b="1"/>
          </a:p>
        </p:txBody>
      </p:sp>
      <p:pic>
        <p:nvPicPr>
          <p:cNvPr id="16408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9883776" y="4749800"/>
            <a:ext cx="675545" cy="850900"/>
          </a:xfrm>
          <a:prstGeom prst="rect">
            <a:avLst/>
          </a:prstGeom>
        </p:spPr>
      </p:pic>
      <p:cxnSp>
        <p:nvCxnSpPr>
          <p:cNvPr id="16411" name=""/>
          <p:cNvCxnSpPr/>
          <p:nvPr/>
        </p:nvCxnSpPr>
        <p:spPr>
          <a:xfrm>
            <a:off x="6174000" y="5328000"/>
            <a:ext cx="3031200" cy="0"/>
          </a:xfrm>
          <a:prstGeom prst="straightConnector1">
            <a:avLst/>
          </a:prstGeom>
          <a:ln w="50800" algn="ctr">
            <a:solidFill>
              <a:srgbClr val="0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repeatCount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repeatCount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repeatCount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repeatCount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repeatCount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repeatCount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16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16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6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9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6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94" grpId="0" bldLvl="0" animBg="1" autoUpdateAnimBg="1"/>
      <p:bldP spid="16396" grpId="1" bldLvl="0" animBg="1" autoUpdateAnimBg="1"/>
      <p:bldP spid="16399" grpId="2" bldLvl="0" animBg="1" autoUpdateAnimBg="1"/>
      <p:bldP spid="16395" grpId="3" bldLvl="0" animBg="1" autoUpdateAnimBg="1"/>
      <p:bldP spid="16393" grpId="4" bldLvl="0" animBg="1" autoUpdateAnimBg="1"/>
      <p:bldP spid="16398" grpId="5" bldLvl="0" animBg="1" autoUpdateAnimBg="1"/>
      <p:bldP spid="16409" grpId="6" bldLvl="0" animBg="1" autoUpdateAnimBg="1"/>
      <p:bldP spid="16410" grpId="7" bldLvl="0" animBg="1" autoUpdateAnimBg="1"/>
      <p:bldP spid="16408" grpId="8" bldLvl="0" animBg="1" autoUpdateAnimBg="1"/>
      <p:bldP spid="16411" grpId="9" bldLvl="0" animBg="1" autoUpdateAnimBg="1"/>
    </p:bldLst>
  </p:timing>
</p:sld>
</file>

<file path=ppt/slides/slide1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686050" y="2159420"/>
            <a:ext cx="9505950" cy="3148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 rot="0">
            <a:off x="3553279" y="2578520"/>
            <a:ext cx="4409906" cy="1688680"/>
            <a:chOff x="98924" y="3811656"/>
            <a:chExt cx="4409906" cy="1688680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98924" y="3811656"/>
              <a:ext cx="932996" cy="0"/>
            </a:xfrm>
            <a:prstGeom prst="line">
              <a:avLst/>
            </a:prstGeom>
            <a:ln w="190500">
              <a:solidFill>
                <a:srgbClr val="1d9e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159373" y="4426343"/>
              <a:ext cx="3349457" cy="107399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80000"/>
                </a:lnSpc>
                <a:defRPr lang="ko-KR" altLang="en-US"/>
              </a:pPr>
              <a:r>
                <a:rPr lang="en-US" altLang="ko-KR" sz="8800" b="1">
                  <a:latin typeface="Segoe UI"/>
                  <a:cs typeface="Segoe UI"/>
                </a:rPr>
                <a:t>Q &amp; A</a:t>
              </a:r>
              <a:endParaRPr lang="en-US" altLang="ko-KR" sz="8800" b="1">
                <a:latin typeface="Segoe UI"/>
                <a:cs typeface="Segoe UI"/>
              </a:endParaRPr>
            </a:p>
          </p:txBody>
        </p:sp>
      </p:grp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>
</file>

<file path=ppt/slides/slide1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686050" y="2159420"/>
            <a:ext cx="9505950" cy="3148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 rot="0">
            <a:off x="3553279" y="2578520"/>
            <a:ext cx="6254582" cy="1688680"/>
            <a:chOff x="98924" y="3811656"/>
            <a:chExt cx="6254582" cy="1688680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98924" y="3811656"/>
              <a:ext cx="932996" cy="0"/>
            </a:xfrm>
            <a:prstGeom prst="line">
              <a:avLst/>
            </a:prstGeom>
            <a:ln w="190500">
              <a:solidFill>
                <a:srgbClr val="1d9e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98924" y="4426343"/>
              <a:ext cx="6254582" cy="107399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80000"/>
                </a:lnSpc>
                <a:defRPr lang="ko-KR" altLang="en-US"/>
              </a:pPr>
              <a:r>
                <a:rPr lang="ko-KR" altLang="en-US" sz="8800" b="1">
                  <a:latin typeface="Segoe UI"/>
                  <a:cs typeface="Segoe UI"/>
                </a:rPr>
                <a:t>감사합니다</a:t>
              </a:r>
              <a:endParaRPr lang="ko-KR" altLang="en-US" sz="8800" b="1">
                <a:latin typeface="Segoe UI"/>
                <a:cs typeface="Segoe UI"/>
              </a:endParaRPr>
            </a:p>
          </p:txBody>
        </p:sp>
      </p:grp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>
</file>

<file path=ppt/slides/slide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057056" y="288779"/>
            <a:ext cx="2968209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반려동물 관리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직사각형 14"/>
          <p:cNvSpPr/>
          <p:nvPr/>
        </p:nvSpPr>
        <p:spPr>
          <a:xfrm>
            <a:off x="808382" y="1428801"/>
            <a:ext cx="11092248" cy="51548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16" name="자유형: 도형 15"/>
          <p:cNvSpPr/>
          <p:nvPr/>
        </p:nvSpPr>
        <p:spPr>
          <a:xfrm>
            <a:off x="5794467" y="1428801"/>
            <a:ext cx="2137077" cy="3442272"/>
          </a:xfrm>
          <a:custGeom>
            <a:avLst/>
            <a:gdLst>
              <a:gd name="connsiteX0" fmla="*/ 0 w 1768709"/>
              <a:gd name="connsiteY0" fmla="*/ 0 h 2848927"/>
              <a:gd name="connsiteX1" fmla="*/ 1768709 w 1768709"/>
              <a:gd name="connsiteY1" fmla="*/ 0 h 2848927"/>
              <a:gd name="connsiteX2" fmla="*/ 1768709 w 1768709"/>
              <a:gd name="connsiteY2" fmla="*/ 2848927 h 2848927"/>
              <a:gd name="connsiteX3" fmla="*/ 0 w 1768709"/>
              <a:gd name="connsiteY3" fmla="*/ 2848927 h 2848927"/>
              <a:gd name="connsiteX4" fmla="*/ 0 w 1768709"/>
              <a:gd name="connsiteY4" fmla="*/ 0 h 2848927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8709" h="2848927">
                <a:moveTo>
                  <a:pt x="0" y="0"/>
                </a:moveTo>
                <a:lnTo>
                  <a:pt x="1768709" y="0"/>
                </a:lnTo>
                <a:lnTo>
                  <a:pt x="1768709" y="2848927"/>
                </a:lnTo>
                <a:lnTo>
                  <a:pt x="0" y="284892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0" tIns="157734" rIns="0" bIns="0" anchor="t" anchorCtr="0">
            <a:noAutofit/>
          </a:bodyPr>
          <a:lstStyle/>
          <a:p>
            <a:pPr marL="0" lvl="0" indent="0" algn="l" defTabSz="1800857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defRPr lang="ko-KR" altLang="en-US"/>
            </a:pPr>
            <a:endParaRPr lang="ko-KR" altLang="en-US" sz="4600" kern="1200"/>
          </a:p>
        </p:txBody>
      </p:sp>
      <p:sp>
        <p:nvSpPr>
          <p:cNvPr id="19" name="TextBox 18"/>
          <p:cNvSpPr txBox="1"/>
          <p:nvPr/>
        </p:nvSpPr>
        <p:spPr>
          <a:xfrm>
            <a:off x="1062067" y="4761444"/>
            <a:ext cx="3280170" cy="332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lang="ko-KR" altLang="en-US"/>
            </a:pPr>
            <a:endParaRPr lang="en-US" altLang="ko-KR" sz="160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1021834" y="1664773"/>
            <a:ext cx="5855896" cy="4758637"/>
          </a:xfrm>
          <a:prstGeom prst="rect">
            <a:avLst/>
          </a:prstGeom>
        </p:spPr>
      </p:pic>
      <p:sp>
        <p:nvSpPr>
          <p:cNvPr id="34" name="자유형: 도형 16"/>
          <p:cNvSpPr/>
          <p:nvPr/>
        </p:nvSpPr>
        <p:spPr>
          <a:xfrm>
            <a:off x="8258602" y="1495476"/>
            <a:ext cx="2137077" cy="3442272"/>
          </a:xfrm>
          <a:custGeom>
            <a:avLst/>
            <a:gdLst>
              <a:gd name="connsiteX0" fmla="*/ 0 w 1768709"/>
              <a:gd name="connsiteY0" fmla="*/ 0 h 2848927"/>
              <a:gd name="connsiteX1" fmla="*/ 1768709 w 1768709"/>
              <a:gd name="connsiteY1" fmla="*/ 0 h 2848927"/>
              <a:gd name="connsiteX2" fmla="*/ 1768709 w 1768709"/>
              <a:gd name="connsiteY2" fmla="*/ 2848927 h 2848927"/>
              <a:gd name="connsiteX3" fmla="*/ 0 w 1768709"/>
              <a:gd name="connsiteY3" fmla="*/ 2848927 h 2848927"/>
              <a:gd name="connsiteX4" fmla="*/ 0 w 1768709"/>
              <a:gd name="connsiteY4" fmla="*/ 0 h 2848927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8709" h="2848927">
                <a:moveTo>
                  <a:pt x="0" y="0"/>
                </a:moveTo>
                <a:lnTo>
                  <a:pt x="1768709" y="0"/>
                </a:lnTo>
                <a:lnTo>
                  <a:pt x="1768709" y="2848927"/>
                </a:lnTo>
                <a:lnTo>
                  <a:pt x="0" y="284892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0" tIns="157734" rIns="0" bIns="0" anchor="t" anchorCtr="0">
            <a:noAutofit/>
          </a:bodyPr>
          <a:lstStyle/>
          <a:p>
            <a:pPr marL="0" lvl="0" indent="0" algn="l" defTabSz="1744583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defRPr lang="ko-KR" altLang="en-US"/>
            </a:pPr>
            <a:endParaRPr lang="ko-KR" altLang="en-US" sz="4600" kern="1200"/>
          </a:p>
        </p:txBody>
      </p:sp>
      <p:sp>
        <p:nvSpPr>
          <p:cNvPr id="35" name="양쪽 대괄호 19"/>
          <p:cNvSpPr/>
          <p:nvPr/>
        </p:nvSpPr>
        <p:spPr>
          <a:xfrm>
            <a:off x="7701194" y="1736972"/>
            <a:ext cx="3551990" cy="810986"/>
          </a:xfrm>
          <a:prstGeom prst="bracketPair">
            <a:avLst>
              <a:gd name="adj" fmla="val 16667"/>
            </a:avLst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36" name="TextBox 18"/>
          <p:cNvSpPr txBox="1"/>
          <p:nvPr/>
        </p:nvSpPr>
        <p:spPr>
          <a:xfrm>
            <a:off x="7665106" y="4150193"/>
            <a:ext cx="3589424" cy="6712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lang="ko-KR" altLang="en-US"/>
            </a:pPr>
            <a:r>
              <a:rPr lang="ko-KR" altLang="en-US" sz="3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- 1인 가구 증가</a:t>
            </a:r>
            <a:endParaRPr lang="ko-KR" altLang="en-US" sz="38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7" name="TextBox 18"/>
          <p:cNvSpPr txBox="1"/>
          <p:nvPr/>
        </p:nvSpPr>
        <p:spPr>
          <a:xfrm>
            <a:off x="7646841" y="3093196"/>
            <a:ext cx="3589424" cy="671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lang="ko-KR" altLang="en-US"/>
            </a:pPr>
            <a:r>
              <a:rPr lang="ko-KR" altLang="en-US" sz="3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- 맞벌이 증가</a:t>
            </a:r>
            <a:endParaRPr lang="ko-KR" altLang="en-US" sz="38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9" name="TextBox 18"/>
          <p:cNvSpPr txBox="1"/>
          <p:nvPr/>
        </p:nvSpPr>
        <p:spPr>
          <a:xfrm>
            <a:off x="8097751" y="1785082"/>
            <a:ext cx="3325654" cy="6704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lang="ko-KR" altLang="en-US"/>
            </a:pPr>
            <a:r>
              <a:rPr lang="ko-KR" altLang="en-US" sz="3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증가의 이유?</a:t>
            </a:r>
            <a:endParaRPr lang="ko-KR" altLang="en-US" sz="38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42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964141" y="1653116"/>
            <a:ext cx="6237813" cy="4770091"/>
          </a:xfrm>
          <a:prstGeom prst="rect">
            <a:avLst/>
          </a:prstGeom>
        </p:spPr>
      </p:pic>
      <p:pic>
        <p:nvPicPr>
          <p:cNvPr id="43" name="그림 39"/>
          <p:cNvPicPr>
            <a:picLocks noChangeAspect="1"/>
          </p:cNvPicPr>
          <p:nvPr/>
        </p:nvPicPr>
        <p:blipFill rotWithShape="1">
          <a:blip r:embed="rId4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bldLvl="0" animBg="1" autoUpdateAnimBg="1"/>
      <p:bldP spid="35" grpId="1" bldLvl="0" animBg="1" autoUpdateAnimBg="1"/>
      <p:bldP spid="39" grpId="2" bldLvl="0" animBg="1" autoUpdateAnimBg="1"/>
      <p:bldP spid="36" grpId="3" bldLvl="0" animBg="1" autoUpdateAnimBg="1"/>
      <p:bldP spid="37" grpId="4" bldLvl="0" animBg="1" autoUpdateAnimBg="1"/>
      <p:bldP spid="34" grpId="5" bldLvl="0" animBg="1" autoUpdateAnimBg="1"/>
    </p:bldLst>
  </p:timing>
</p:sld>
</file>

<file path=ppt/slides/slide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/>
          <p:cNvSpPr/>
          <p:nvPr/>
        </p:nvSpPr>
        <p:spPr>
          <a:xfrm>
            <a:off x="0" y="1091367"/>
            <a:ext cx="12192000" cy="57666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104685" y="288779"/>
            <a:ext cx="1520405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문제점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자유형: 도형 23"/>
          <p:cNvSpPr/>
          <p:nvPr/>
        </p:nvSpPr>
        <p:spPr>
          <a:xfrm>
            <a:off x="6694513" y="1428801"/>
            <a:ext cx="2137077" cy="3442272"/>
          </a:xfrm>
          <a:custGeom>
            <a:avLst/>
            <a:gdLst>
              <a:gd name="connsiteX0" fmla="*/ 0 w 1768709"/>
              <a:gd name="connsiteY0" fmla="*/ 0 h 2848927"/>
              <a:gd name="connsiteX1" fmla="*/ 1768709 w 1768709"/>
              <a:gd name="connsiteY1" fmla="*/ 0 h 2848927"/>
              <a:gd name="connsiteX2" fmla="*/ 1768709 w 1768709"/>
              <a:gd name="connsiteY2" fmla="*/ 2848927 h 2848927"/>
              <a:gd name="connsiteX3" fmla="*/ 0 w 1768709"/>
              <a:gd name="connsiteY3" fmla="*/ 2848927 h 2848927"/>
              <a:gd name="connsiteX4" fmla="*/ 0 w 1768709"/>
              <a:gd name="connsiteY4" fmla="*/ 0 h 2848927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8709" h="2848927">
                <a:moveTo>
                  <a:pt x="0" y="0"/>
                </a:moveTo>
                <a:lnTo>
                  <a:pt x="1768709" y="0"/>
                </a:lnTo>
                <a:lnTo>
                  <a:pt x="1768709" y="2848927"/>
                </a:lnTo>
                <a:lnTo>
                  <a:pt x="0" y="284892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0" tIns="157734" rIns="0" bIns="0" anchor="t" anchorCtr="0">
            <a:noAutofit/>
          </a:bodyPr>
          <a:lstStyle/>
          <a:p>
            <a:pPr marL="0" lvl="0" indent="0" algn="l" defTabSz="1829671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defRPr lang="ko-KR" altLang="en-US"/>
            </a:pPr>
            <a:endParaRPr lang="ko-KR" altLang="en-US" sz="4600" kern="1200"/>
          </a:p>
        </p:txBody>
      </p:sp>
      <p:grpSp>
        <p:nvGrpSpPr>
          <p:cNvPr id="17" name="그룹 16"/>
          <p:cNvGrpSpPr/>
          <p:nvPr/>
        </p:nvGrpSpPr>
        <p:grpSpPr>
          <a:xfrm rot="0">
            <a:off x="869686" y="2356236"/>
            <a:ext cx="2145527" cy="2145527"/>
            <a:chOff x="882056" y="2095186"/>
            <a:chExt cx="2145527" cy="2145527"/>
          </a:xfrm>
        </p:grpSpPr>
        <p:sp>
          <p:nvSpPr>
            <p:cNvPr id="15" name="타원 14"/>
            <p:cNvSpPr/>
            <p:nvPr/>
          </p:nvSpPr>
          <p:spPr>
            <a:xfrm>
              <a:off x="882056" y="2095186"/>
              <a:ext cx="2145527" cy="2145527"/>
            </a:xfrm>
            <a:prstGeom prst="ellipse">
              <a:avLst/>
            </a:prstGeom>
            <a:solidFill>
              <a:srgbClr val="2f6d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 lang="ko-KR" altLang="en-US"/>
              </a:pPr>
              <a:endParaRPr lang="ko-KR" altLang="en-US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448764" y="2857620"/>
              <a:ext cx="1002030" cy="5751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 lang="ko-KR" altLang="en-US"/>
              </a:pPr>
              <a:r>
                <a:rPr lang="ko-KR" altLang="en-US" sz="3200" b="1">
                  <a:solidFill>
                    <a:schemeClr val="bg1"/>
                  </a:solidFill>
                </a:rPr>
                <a:t>사람</a:t>
              </a:r>
              <a:endParaRPr lang="ko-KR" altLang="en-US" sz="32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 rot="0">
            <a:off x="9219950" y="2343204"/>
            <a:ext cx="2145527" cy="2145527"/>
            <a:chOff x="9219950" y="2082154"/>
            <a:chExt cx="2145527" cy="2145527"/>
          </a:xfrm>
        </p:grpSpPr>
        <p:sp>
          <p:nvSpPr>
            <p:cNvPr id="51" name="타원 50"/>
            <p:cNvSpPr/>
            <p:nvPr/>
          </p:nvSpPr>
          <p:spPr>
            <a:xfrm>
              <a:off x="9219950" y="2082154"/>
              <a:ext cx="2145527" cy="214552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 lang="ko-KR" altLang="en-US"/>
              </a:pPr>
              <a:endParaRPr lang="ko-KR" altLang="en-US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339178" y="2880469"/>
              <a:ext cx="1906905" cy="57496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 lang="ko-KR" altLang="en-US"/>
              </a:pPr>
              <a:r>
                <a:rPr lang="ko-KR" altLang="en-US" sz="3200" b="1">
                  <a:solidFill>
                    <a:schemeClr val="bg1"/>
                  </a:solidFill>
                </a:rPr>
                <a:t>반려 동물</a:t>
              </a:r>
              <a:endParaRPr lang="ko-KR" altLang="en-US" sz="3200" b="1">
                <a:solidFill>
                  <a:schemeClr val="bg1"/>
                </a:solidFill>
              </a:endParaRPr>
            </a:p>
          </p:txBody>
        </p:sp>
      </p:grpSp>
      <p:pic>
        <p:nvPicPr>
          <p:cNvPr id="53" name="그림 52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3927231" y="1436810"/>
            <a:ext cx="4337538" cy="4793273"/>
          </a:xfrm>
          <a:prstGeom prst="rect">
            <a:avLst/>
          </a:prstGeom>
        </p:spPr>
      </p:pic>
      <p:pic>
        <p:nvPicPr>
          <p:cNvPr id="57" name="그림 39"/>
          <p:cNvPicPr>
            <a:picLocks noChangeAspect="1"/>
          </p:cNvPicPr>
          <p:nvPr/>
        </p:nvPicPr>
        <p:blipFill rotWithShape="1">
          <a:blip r:embed="rId3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498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1093304" y="1851991"/>
            <a:ext cx="10005392" cy="3154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="horz" wrap="square" lIns="91440" tIns="45720" rIns="91440" bIns="45720" anchor="ctr" anchorCtr="0">
            <a:noAutofit/>
          </a:bodyPr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TextBox 2"/>
          <p:cNvSpPr txBox="1"/>
          <p:nvPr/>
        </p:nvSpPr>
        <p:spPr>
          <a:xfrm>
            <a:off x="3775710" y="3075057"/>
            <a:ext cx="4507230" cy="6377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lang="ko-KR" altLang="en-US"/>
            </a:pPr>
            <a:r>
              <a:rPr lang="ko-KR" altLang="en-US" sz="3600" b="1">
                <a:solidFill>
                  <a:schemeClr val="tx2">
                    <a:lumMod val="50000"/>
                  </a:schemeClr>
                </a:solidFill>
              </a:rPr>
              <a:t>반려동물 케어 시스템</a:t>
            </a:r>
          </a:p>
        </p:txBody>
      </p:sp>
    </p:spTree>
  </p:cSld>
  <p:clrMapOvr>
    <a:masterClrMapping/>
  </p:clrMapOvr>
  <p:transition>
    <p:fade/>
  </p:transition>
</p:sld>
</file>

<file path=ppt/slides/slide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980861" y="288779"/>
            <a:ext cx="5435179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반려동물 케어 시스템 기능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5375910" y="2225193"/>
            <a:ext cx="897255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lang="ko-KR" altLang="en-US"/>
            </a:pPr>
            <a:r>
              <a:rPr lang="en-US" altLang="ko-KR" sz="2800" b="1">
                <a:solidFill>
                  <a:schemeClr val="bg1"/>
                </a:solidFill>
              </a:rPr>
              <a:t>Feed</a:t>
            </a:r>
            <a:endParaRPr lang="en-US" altLang="ko-KR" sz="2800" b="1">
              <a:solidFill>
                <a:schemeClr val="bg1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464125" y="1754980"/>
            <a:ext cx="7222143" cy="3804341"/>
          </a:xfrm>
          <a:prstGeom prst="rect">
            <a:avLst/>
          </a:prstGeom>
        </p:spPr>
      </p:pic>
      <p:pic>
        <p:nvPicPr>
          <p:cNvPr id="1026" name="Picture 2" descr="스마트폰 아이콘 - 다운로드 416 무료 아이콘 PNG, SVG, ICO 나 ICNS"/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8868534" y="3382818"/>
            <a:ext cx="1219200" cy="1219200"/>
          </a:xfrm>
          <a:prstGeom prst="rect">
            <a:avLst/>
          </a:prstGeom>
          <a:noFill/>
        </p:spPr>
      </p:pic>
      <p:cxnSp>
        <p:nvCxnSpPr>
          <p:cNvPr id="8" name="직선 화살표 연결선 7"/>
          <p:cNvCxnSpPr/>
          <p:nvPr/>
        </p:nvCxnSpPr>
        <p:spPr>
          <a:xfrm>
            <a:off x="4248727" y="3888509"/>
            <a:ext cx="46198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직선 화살표 연결선 9"/>
          <p:cNvCxnSpPr>
            <a:stCxn id="1026" idx="1"/>
          </p:cNvCxnSpPr>
          <p:nvPr/>
        </p:nvCxnSpPr>
        <p:spPr>
          <a:xfrm flipH="1">
            <a:off x="4202545" y="3992418"/>
            <a:ext cx="46659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7976541" y="4804457"/>
            <a:ext cx="2578312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 lang="ko-KR" altLang="en-US"/>
            </a:pPr>
            <a:r>
              <a:rPr lang="ko-KR" altLang="en-US" sz="2500" b="1"/>
              <a:t>애플리케이션</a:t>
            </a:r>
            <a:endParaRPr lang="ko-KR" altLang="en-US" sz="2500" b="1"/>
          </a:p>
        </p:txBody>
      </p:sp>
      <p:pic>
        <p:nvPicPr>
          <p:cNvPr id="1028" name="그림 39"/>
          <p:cNvPicPr>
            <a:picLocks noChangeAspect="1"/>
          </p:cNvPicPr>
          <p:nvPr/>
        </p:nvPicPr>
        <p:blipFill rotWithShape="1">
          <a:blip r:embed="rId4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</p:sld>
</file>

<file path=ppt/slides/slide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980861" y="288779"/>
            <a:ext cx="2530054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통신 구조도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2514092" y="1213010"/>
            <a:ext cx="7306686" cy="543783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426940" y="1202458"/>
            <a:ext cx="979054" cy="414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2100">
                <a:latin typeface="G마켓 산스 TTF Medium"/>
                <a:ea typeface="G마켓 산스 TTF Medium"/>
              </a:rPr>
              <a:t>반려인</a:t>
            </a:r>
            <a:endParaRPr lang="ko-KR" altLang="en-US" sz="2100">
              <a:latin typeface="G마켓 산스 TTF Medium"/>
              <a:ea typeface="G마켓 산스 TTF Medium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450649" y="4175722"/>
            <a:ext cx="177799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1500">
                <a:latin typeface="G마켓 산스 TTF Medium"/>
                <a:ea typeface="G마켓 산스 TTF Medium"/>
              </a:rPr>
              <a:t>라즈베리파이 1</a:t>
            </a:r>
            <a:endParaRPr lang="ko-KR" altLang="en-US" sz="1500">
              <a:latin typeface="G마켓 산스 TTF Medium"/>
              <a:ea typeface="G마켓 산스 TTF Medium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41940" y="4423402"/>
            <a:ext cx="1335320" cy="318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1500">
                <a:latin typeface="G마켓 산스 TTF Medium"/>
                <a:ea typeface="G마켓 산스 TTF Medium"/>
              </a:rPr>
              <a:t>카메라 모듈</a:t>
            </a:r>
            <a:endParaRPr lang="ko-KR" altLang="en-US" sz="1500">
              <a:latin typeface="G마켓 산스 TTF Medium"/>
              <a:ea typeface="G마켓 산스 TTF Medium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898202" y="5976847"/>
            <a:ext cx="874945" cy="339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1600">
                <a:latin typeface="G마켓 산스 TTF Medium"/>
                <a:ea typeface="G마켓 산스 TTF Medium"/>
              </a:rPr>
              <a:t>열선</a:t>
            </a:r>
            <a:endParaRPr lang="ko-KR" altLang="en-US" sz="1600">
              <a:latin typeface="G마켓 산스 TTF Medium"/>
              <a:ea typeface="G마켓 산스 TTF Medium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572000" y="6022528"/>
            <a:ext cx="1033695" cy="338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1600">
                <a:latin typeface="G마켓 산스 TTF Medium"/>
                <a:ea typeface="G마켓 산스 TTF Medium"/>
              </a:rPr>
              <a:t>온도 센서</a:t>
            </a:r>
            <a:endParaRPr lang="en-US" altLang="ko-KR" sz="1600">
              <a:latin typeface="G마켓 산스 TTF Medium"/>
              <a:ea typeface="G마켓 산스 TTF Medium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863919" y="5806730"/>
            <a:ext cx="1287695" cy="334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1600">
                <a:latin typeface="G마켓 산스 TTF Medium"/>
                <a:ea typeface="G마켓 산스 TTF Medium"/>
              </a:rPr>
              <a:t>서보 모터</a:t>
            </a:r>
            <a:endParaRPr lang="ko-KR" altLang="en-US" sz="1600">
              <a:latin typeface="G마켓 산스 TTF Medium"/>
              <a:ea typeface="G마켓 산스 TTF Medium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913799" y="5819069"/>
            <a:ext cx="1293828" cy="3321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1600">
                <a:latin typeface="G마켓 산스 TTF Medium"/>
                <a:ea typeface="G마켓 산스 TTF Medium"/>
              </a:rPr>
              <a:t>워터 펌프</a:t>
            </a:r>
            <a:endParaRPr lang="ko-KR" altLang="en-US" sz="1600">
              <a:latin typeface="G마켓 산스 TTF Medium"/>
              <a:ea typeface="G마켓 산스 TTF Medium"/>
            </a:endParaRPr>
          </a:p>
        </p:txBody>
      </p:sp>
      <p:pic>
        <p:nvPicPr>
          <p:cNvPr id="56" name="그림 39"/>
          <p:cNvPicPr>
            <a:picLocks noChangeAspect="1"/>
          </p:cNvPicPr>
          <p:nvPr/>
        </p:nvPicPr>
        <p:blipFill rotWithShape="1">
          <a:blip r:embed="rId3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  <p:sp>
        <p:nvSpPr>
          <p:cNvPr id="57" name="TextBox 31"/>
          <p:cNvSpPr txBox="1"/>
          <p:nvPr/>
        </p:nvSpPr>
        <p:spPr>
          <a:xfrm>
            <a:off x="6816149" y="4061422"/>
            <a:ext cx="17780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1500">
                <a:latin typeface="G마켓 산스 TTF Medium"/>
                <a:ea typeface="G마켓 산스 TTF Medium"/>
              </a:rPr>
              <a:t>라즈베리파이 2</a:t>
            </a:r>
            <a:endParaRPr lang="ko-KR" altLang="en-US" sz="1500">
              <a:latin typeface="G마켓 산스 TTF Medium"/>
              <a:ea typeface="G마켓 산스 TTF Medium"/>
            </a:endParaRPr>
          </a:p>
        </p:txBody>
      </p:sp>
      <p:sp>
        <p:nvSpPr>
          <p:cNvPr id="58" name="TextBox 34"/>
          <p:cNvSpPr txBox="1"/>
          <p:nvPr/>
        </p:nvSpPr>
        <p:spPr>
          <a:xfrm>
            <a:off x="9004791" y="4366252"/>
            <a:ext cx="1335320" cy="318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1500">
                <a:latin typeface="G마켓 산스 TTF Medium"/>
                <a:ea typeface="G마켓 산스 TTF Medium"/>
              </a:rPr>
              <a:t>카메라 모듈</a:t>
            </a:r>
            <a:endParaRPr lang="ko-KR" altLang="en-US" sz="1500">
              <a:latin typeface="G마켓 산스 TTF Medium"/>
              <a:ea typeface="G마켓 산스 TTF Medium"/>
            </a:endParaRPr>
          </a:p>
        </p:txBody>
      </p:sp>
      <p:pic>
        <p:nvPicPr>
          <p:cNvPr id="60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7945437" y="1606548"/>
            <a:ext cx="990633" cy="1247776"/>
          </a:xfrm>
          <a:prstGeom prst="rect">
            <a:avLst/>
          </a:prstGeom>
        </p:spPr>
      </p:pic>
      <p:cxnSp>
        <p:nvCxnSpPr>
          <p:cNvPr id="62" name=""/>
          <p:cNvCxnSpPr>
            <a:endCxn id="60" idx="1"/>
          </p:cNvCxnSpPr>
          <p:nvPr/>
        </p:nvCxnSpPr>
        <p:spPr>
          <a:xfrm>
            <a:off x="6442711" y="2230437"/>
            <a:ext cx="1502726" cy="0"/>
          </a:xfrm>
          <a:prstGeom prst="line">
            <a:avLst/>
          </a:prstGeom>
          <a:ln w="25400" algn="ctr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</p:sld>
</file>

<file path=ppt/slides/slide7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직사각형 12291"/>
          <p:cNvSpPr/>
          <p:nvPr/>
        </p:nvSpPr>
        <p:spPr>
          <a:xfrm>
            <a:off x="806817" y="0"/>
            <a:ext cx="1829604" cy="131826"/>
          </a:xfrm>
          <a:prstGeom prst="rect">
            <a:avLst/>
          </a:prstGeom>
          <a:solidFill>
            <a:srgbClr val="2f6da0"/>
          </a:solidFill>
          <a:ln w="12674" cap="flat" cmpd="sng" algn="ctr">
            <a:solidFill>
              <a:srgbClr val="31538f"/>
            </a:solidFill>
            <a:prstDash val="solid"/>
            <a:round/>
          </a:ln>
        </p:spPr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12293" name="직사각형 12292"/>
          <p:cNvSpPr/>
          <p:nvPr/>
        </p:nvSpPr>
        <p:spPr>
          <a:xfrm flipV="1">
            <a:off x="0" y="6834105"/>
            <a:ext cx="12191204" cy="46063"/>
          </a:xfrm>
          <a:prstGeom prst="rect">
            <a:avLst/>
          </a:prstGeom>
          <a:solidFill>
            <a:srgbClr val="2f6da0"/>
          </a:solidFill>
          <a:ln w="12674" cap="flat" cmpd="sng" algn="ctr">
            <a:solidFill>
              <a:srgbClr val="31538f"/>
            </a:solidFill>
            <a:prstDash val="solid"/>
            <a:round/>
          </a:ln>
        </p:spPr>
        <p:txBody>
          <a:bodyPr anchor="ctr"/>
          <a:lstStyle/>
          <a:p>
            <a:pPr algn="ctr">
              <a:defRPr lang="ko-KR" altLang="en-US"/>
            </a:pPr>
            <a:endParaRPr lang="ko-KR" altLang="en-US"/>
          </a:p>
        </p:txBody>
      </p:sp>
      <p:cxnSp>
        <p:nvCxnSpPr>
          <p:cNvPr id="12295" name="직선 연결선 12294"/>
          <p:cNvCxnSpPr/>
          <p:nvPr/>
        </p:nvCxnSpPr>
        <p:spPr>
          <a:xfrm>
            <a:off x="806817" y="1072034"/>
            <a:ext cx="11384387" cy="0"/>
          </a:xfrm>
          <a:prstGeom prst="line">
            <a:avLst/>
          </a:prstGeom>
          <a:ln w="6309" cap="flat" cmpd="sng" algn="ctr">
            <a:solidFill>
              <a:srgbClr val="bfbfbf"/>
            </a:solidFill>
            <a:prstDash val="solid"/>
            <a:round/>
          </a:ln>
        </p:spPr>
      </p:cxnSp>
      <p:pic>
        <p:nvPicPr>
          <p:cNvPr id="12297" name="그림 12296"/>
          <p:cNvPicPr>
            <a:picLocks noChangeAspect="1"/>
          </p:cNvPicPr>
          <p:nvPr/>
        </p:nvPicPr>
        <p:blipFill rotWithShape="1">
          <a:blip r:embed="rId2"/>
          <a:srcRect/>
          <a:stretch>
            <a:fillRect/>
          </a:stretch>
        </p:blipFill>
        <p:spPr>
          <a:xfrm rot="21600000">
            <a:off x="2865099" y="1369224"/>
            <a:ext cx="6792842" cy="509463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</a:ln>
          <a:effectLst>
            <a:outerShdw blurRad="76200" dist="76199" dir="2700000" algn="br">
              <a:srgbClr val="000000">
                <a:alpha val="50000"/>
              </a:srgbClr>
            </a:outerShdw>
          </a:effectLst>
        </p:spPr>
      </p:pic>
      <p:sp>
        <p:nvSpPr>
          <p:cNvPr id="12299" name="テキスト ボックス 3"/>
          <p:cNvSpPr txBox="1"/>
          <p:nvPr/>
        </p:nvSpPr>
        <p:spPr>
          <a:xfrm>
            <a:off x="1009437" y="288778"/>
            <a:ext cx="3673053" cy="642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시스템 구조도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pic>
        <p:nvPicPr>
          <p:cNvPr id="12301" name="그림 39"/>
          <p:cNvPicPr>
            <a:picLocks noChangeAspect="1"/>
          </p:cNvPicPr>
          <p:nvPr/>
        </p:nvPicPr>
        <p:blipFill rotWithShape="1">
          <a:blip r:embed="rId3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</p:spTree>
  </p:cSld>
  <p:clrMapOvr>
    <a:masterClrMapping/>
  </p:clrMapOvr>
  <p:transition xmlns:mc="http://schemas.openxmlformats.org/markup-compatibility/2006" xmlns:hp="http://schemas.haansoft.com/office/presentation/8.0" mc:Ignorable="hp" hp:hslDur="750">
    <p:fade/>
  </p:transition>
</p:sld>
</file>

<file path=ppt/slides/slide8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009437" y="288779"/>
            <a:ext cx="36730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전체적인 구조</a:t>
            </a:r>
            <a:endParaRPr lang="ko-KR" altLang="en-US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Rectangle 22"/>
          <p:cNvSpPr/>
          <p:nvPr/>
        </p:nvSpPr>
        <p:spPr>
          <a:xfrm>
            <a:off x="0" y="5138494"/>
            <a:ext cx="12192000" cy="17195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/>
          </a:p>
        </p:txBody>
      </p:sp>
      <p:pic>
        <p:nvPicPr>
          <p:cNvPr id="238" name="그림 237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143566" y="1500393"/>
            <a:ext cx="5761934" cy="4321451"/>
          </a:xfrm>
          <a:prstGeom prst="rect">
            <a:avLst/>
          </a:prstGeom>
        </p:spPr>
      </p:pic>
      <p:pic>
        <p:nvPicPr>
          <p:cNvPr id="239" name="그림 238"/>
          <p:cNvPicPr>
            <a:picLocks noChangeAspect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6057347" y="1550227"/>
            <a:ext cx="5681869" cy="4261402"/>
          </a:xfrm>
          <a:prstGeom prst="rect">
            <a:avLst/>
          </a:prstGeom>
        </p:spPr>
      </p:pic>
      <p:sp>
        <p:nvSpPr>
          <p:cNvPr id="240" name="テキスト ボックス 3"/>
          <p:cNvSpPr txBox="1"/>
          <p:nvPr/>
        </p:nvSpPr>
        <p:spPr>
          <a:xfrm>
            <a:off x="8604117" y="5976721"/>
            <a:ext cx="1022618" cy="518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2800" b="1">
                <a:latin typeface="나눔바른고딕"/>
                <a:ea typeface="나눔바른고딕"/>
              </a:rPr>
              <a:t>옆 면</a:t>
            </a:r>
            <a:endParaRPr lang="ko-KR" altLang="en-US" sz="2800" b="1">
              <a:latin typeface="나눔바른고딕"/>
              <a:ea typeface="나눔바른고딕"/>
            </a:endParaRPr>
          </a:p>
        </p:txBody>
      </p:sp>
      <p:sp>
        <p:nvSpPr>
          <p:cNvPr id="241" name="テキスト ボックス 3"/>
          <p:cNvSpPr txBox="1"/>
          <p:nvPr/>
        </p:nvSpPr>
        <p:spPr>
          <a:xfrm>
            <a:off x="2840306" y="6018688"/>
            <a:ext cx="1330861" cy="5135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2800" b="1">
                <a:latin typeface="나눔바른고딕"/>
                <a:ea typeface="나눔바른고딕"/>
              </a:rPr>
              <a:t>앞 면</a:t>
            </a:r>
            <a:endParaRPr lang="ko-KR" altLang="en-US" sz="2800" b="1">
              <a:latin typeface="나눔바른고딕"/>
              <a:ea typeface="나눔바른고딕"/>
            </a:endParaRPr>
          </a:p>
        </p:txBody>
      </p:sp>
      <p:pic>
        <p:nvPicPr>
          <p:cNvPr id="243" name="그림 39"/>
          <p:cNvPicPr>
            <a:picLocks noChangeAspect="1"/>
          </p:cNvPicPr>
          <p:nvPr/>
        </p:nvPicPr>
        <p:blipFill rotWithShape="1">
          <a:blip r:embed="rId4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</p:sld>
</file>

<file path=ppt/slides/slide9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808382" y="0"/>
            <a:ext cx="1828801" cy="132522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3" name="正方形/長方形 2"/>
          <p:cNvSpPr/>
          <p:nvPr/>
        </p:nvSpPr>
        <p:spPr>
          <a:xfrm flipV="1">
            <a:off x="0" y="6835140"/>
            <a:ext cx="12192000" cy="45719"/>
          </a:xfrm>
          <a:prstGeom prst="rect">
            <a:avLst/>
          </a:prstGeom>
          <a:solidFill>
            <a:srgbClr val="2f6d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ja-JP" altLang="en-US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009437" y="288779"/>
            <a:ext cx="48880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ko-KR" altLang="en-US" sz="3600" b="1">
                <a:latin typeface="나눔바른고딕"/>
                <a:ea typeface="나눔바른고딕"/>
              </a:rPr>
              <a:t>사료 &amp; 물 자동공급</a:t>
            </a:r>
            <a:endParaRPr lang="en-US" altLang="ko-KR" sz="3600" b="1">
              <a:latin typeface="나눔바른고딕"/>
              <a:ea typeface="나눔바른고딕"/>
            </a:endParaRPr>
          </a:p>
        </p:txBody>
      </p:sp>
      <p:cxnSp>
        <p:nvCxnSpPr>
          <p:cNvPr id="13" name="直線コネクタ 12"/>
          <p:cNvCxnSpPr/>
          <p:nvPr/>
        </p:nvCxnSpPr>
        <p:spPr>
          <a:xfrm>
            <a:off x="808382" y="1073426"/>
            <a:ext cx="113836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Rectangle 22"/>
          <p:cNvSpPr/>
          <p:nvPr/>
        </p:nvSpPr>
        <p:spPr>
          <a:xfrm>
            <a:off x="0" y="5138494"/>
            <a:ext cx="12192000" cy="17195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 lang="ko-KR" altLang="en-US"/>
            </a:pPr>
            <a:endParaRPr lang="en-US">
              <a:latin typeface="나눔바른고딕"/>
            </a:endParaRPr>
          </a:p>
        </p:txBody>
      </p:sp>
      <p:sp>
        <p:nvSpPr>
          <p:cNvPr id="245" name=""/>
          <p:cNvSpPr/>
          <p:nvPr/>
        </p:nvSpPr>
        <p:spPr>
          <a:xfrm>
            <a:off x="5163700" y="1147600"/>
            <a:ext cx="2572101" cy="56364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algn="ctr">
            <a:noFill/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>
            <a:noAutofit/>
          </a:bodyPr>
          <a:p>
            <a:pPr algn="ctr">
              <a:defRPr lang="ko-KR" altLang="en-US"/>
            </a:pPr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8345486" y="6223022"/>
            <a:ext cx="32670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 lang="ko-KR" altLang="en-US"/>
            </a:pPr>
            <a:r>
              <a:rPr lang="en-US" altLang="ko-KR">
                <a:latin typeface="한컴 소망 M"/>
                <a:ea typeface="한컴 소망 M"/>
              </a:rPr>
              <a:t>08</a:t>
            </a:r>
            <a:r>
              <a:rPr lang="ko-KR" altLang="en-US">
                <a:latin typeface="한컴 소망 M"/>
                <a:ea typeface="한컴 소망 M"/>
              </a:rPr>
              <a:t>시 </a:t>
            </a:r>
            <a:r>
              <a:rPr lang="en-US" altLang="ko-KR">
                <a:latin typeface="한컴 소망 M"/>
                <a:ea typeface="한컴 소망 M"/>
              </a:rPr>
              <a:t>12</a:t>
            </a:r>
            <a:r>
              <a:rPr lang="ko-KR" altLang="en-US">
                <a:latin typeface="한컴 소망 M"/>
                <a:ea typeface="한컴 소망 M"/>
              </a:rPr>
              <a:t>시 </a:t>
            </a:r>
            <a:r>
              <a:rPr lang="en-US" altLang="ko-KR">
                <a:latin typeface="한컴 소망 M"/>
                <a:ea typeface="한컴 소망 M"/>
              </a:rPr>
              <a:t>18</a:t>
            </a:r>
            <a:r>
              <a:rPr lang="ko-KR" altLang="en-US">
                <a:latin typeface="한컴 소망 M"/>
                <a:ea typeface="한컴 소망 M"/>
              </a:rPr>
              <a:t>시에 자동공급</a:t>
            </a:r>
            <a:endParaRPr lang="ko-KR" altLang="en-US">
              <a:latin typeface="한컴 소망 M"/>
              <a:ea typeface="한컴 소망 M"/>
            </a:endParaRPr>
          </a:p>
        </p:txBody>
      </p:sp>
      <p:pic>
        <p:nvPicPr>
          <p:cNvPr id="238" name="그림 39"/>
          <p:cNvPicPr>
            <a:picLocks noChangeAspect="1"/>
          </p:cNvPicPr>
          <p:nvPr/>
        </p:nvPicPr>
        <p:blipFill rotWithShape="1">
          <a:blip r:embed="rId2"/>
          <a:srcRect l="32260" t="31810" r="29440" b="32250"/>
          <a:stretch>
            <a:fillRect/>
          </a:stretch>
        </p:blipFill>
        <p:spPr>
          <a:xfrm>
            <a:off x="247650" y="254977"/>
            <a:ext cx="761997" cy="714642"/>
          </a:xfrm>
          <a:prstGeom prst="ellipse">
            <a:avLst/>
          </a:prstGeom>
        </p:spPr>
      </p:pic>
      <p:pic>
        <p:nvPicPr>
          <p:cNvPr id="240" name=""/>
          <p:cNvPicPr>
            <a:picLocks noChangeAspect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8010529" y="4691234"/>
            <a:ext cx="3914772" cy="1431521"/>
          </a:xfrm>
          <a:prstGeom prst="rect">
            <a:avLst/>
          </a:prstGeom>
        </p:spPr>
      </p:pic>
      <p:pic>
        <p:nvPicPr>
          <p:cNvPr id="241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 rot="5400000">
            <a:off x="15874" y="2063750"/>
            <a:ext cx="5206999" cy="3905250"/>
          </a:xfrm>
          <a:prstGeom prst="rect">
            <a:avLst/>
          </a:prstGeom>
        </p:spPr>
      </p:pic>
      <p:pic>
        <p:nvPicPr>
          <p:cNvPr id="243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5210009" y="1223962"/>
            <a:ext cx="2458954" cy="5191125"/>
          </a:xfrm>
          <a:prstGeom prst="rect">
            <a:avLst/>
          </a:prstGeom>
        </p:spPr>
      </p:pic>
      <p:pic>
        <p:nvPicPr>
          <p:cNvPr id="244" name=""/>
          <p:cNvPicPr>
            <a:picLocks noChangeAspect="1"/>
          </p:cNvPicPr>
          <p:nvPr/>
        </p:nvPicPr>
        <p:blipFill rotWithShape="1">
          <a:blip r:embed="rId6"/>
          <a:srcRect t="82760"/>
          <a:stretch>
            <a:fillRect/>
          </a:stretch>
        </p:blipFill>
        <p:spPr>
          <a:xfrm>
            <a:off x="5224284" y="5822628"/>
            <a:ext cx="2458001" cy="893449"/>
          </a:xfrm>
          <a:prstGeom prst="rect">
            <a:avLst/>
          </a:prstGeom>
        </p:spPr>
      </p:pic>
      <p:cxnSp>
        <p:nvCxnSpPr>
          <p:cNvPr id="247" name=""/>
          <p:cNvCxnSpPr/>
          <p:nvPr/>
        </p:nvCxnSpPr>
        <p:spPr>
          <a:xfrm rot="16200000" flipH="1">
            <a:off x="6196008" y="6396045"/>
            <a:ext cx="333390" cy="0"/>
          </a:xfrm>
          <a:prstGeom prst="line">
            <a:avLst/>
          </a:prstGeom>
          <a:ln w="38100" algn="ctr">
            <a:solidFill>
              <a:srgbClr val="ff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"/>
          <p:cNvCxnSpPr/>
          <p:nvPr/>
        </p:nvCxnSpPr>
        <p:spPr>
          <a:xfrm>
            <a:off x="2127074" y="6543690"/>
            <a:ext cx="4258022" cy="0"/>
          </a:xfrm>
          <a:prstGeom prst="line">
            <a:avLst/>
          </a:prstGeom>
          <a:ln w="38100" algn="ctr">
            <a:solidFill>
              <a:srgbClr val="ff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"/>
          <p:cNvCxnSpPr/>
          <p:nvPr/>
        </p:nvCxnSpPr>
        <p:spPr>
          <a:xfrm rot="16200000">
            <a:off x="1827176" y="6234077"/>
            <a:ext cx="638246" cy="0"/>
          </a:xfrm>
          <a:prstGeom prst="straightConnector1">
            <a:avLst/>
          </a:prstGeom>
          <a:ln w="38100" algn="ctr">
            <a:solidFill>
              <a:srgbClr val="ff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"/>
          <p:cNvCxnSpPr/>
          <p:nvPr/>
        </p:nvCxnSpPr>
        <p:spPr>
          <a:xfrm rot="16200000" flipH="1">
            <a:off x="6933486" y="6315792"/>
            <a:ext cx="172884" cy="0"/>
          </a:xfrm>
          <a:prstGeom prst="line">
            <a:avLst/>
          </a:prstGeom>
          <a:ln w="38100" algn="ctr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"/>
          <p:cNvCxnSpPr/>
          <p:nvPr/>
        </p:nvCxnSpPr>
        <p:spPr>
          <a:xfrm>
            <a:off x="3241483" y="6391290"/>
            <a:ext cx="3800836" cy="0"/>
          </a:xfrm>
          <a:prstGeom prst="line">
            <a:avLst/>
          </a:prstGeom>
          <a:ln w="38100" algn="ctr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"/>
          <p:cNvCxnSpPr/>
          <p:nvPr/>
        </p:nvCxnSpPr>
        <p:spPr>
          <a:xfrm rot="16200000" flipV="1">
            <a:off x="2989226" y="6157876"/>
            <a:ext cx="485847" cy="19050"/>
          </a:xfrm>
          <a:prstGeom prst="straightConnector1">
            <a:avLst/>
          </a:prstGeom>
          <a:ln w="38100" algn="ctr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extBox 18"/>
          <p:cNvSpPr txBox="1"/>
          <p:nvPr/>
        </p:nvSpPr>
        <p:spPr>
          <a:xfrm>
            <a:off x="8202464" y="1870821"/>
            <a:ext cx="3541800" cy="575199"/>
          </a:xfrm>
          <a:prstGeom prst="rect">
            <a:avLst/>
          </a:prstGeom>
          <a:noFill/>
        </p:spPr>
        <p:txBody>
          <a:bodyPr vert="horz" wrap="square" lIns="91440" tIns="45720" rIns="91440" bIns="45720" anchor="t">
            <a:spAutoFit/>
          </a:bodyPr>
          <a:lstStyle/>
          <a:p>
            <a:pPr algn="just">
              <a:defRPr lang="ko-KR" altLang="en-US"/>
            </a:pPr>
            <a:r>
              <a:rPr lang="ko-KR" altLang="en-US" sz="3200" b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76200" dist="76200" dir="2700000" algn="ctr" rotWithShape="0">
                    <a:srgbClr val="000000">
                      <a:alpha val="50000"/>
                    </a:srgbClr>
                  </a:outerShdw>
                </a:effectLst>
                <a:latin typeface="Arial"/>
                <a:cs typeface="Arial"/>
              </a:rPr>
              <a:t>공급의 2가지 방법</a:t>
            </a:r>
            <a:endParaRPr lang="ko-KR" altLang="en-US" sz="3200" b="1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76200" dist="76200" dir="2700000" algn="ctr" rotWithShape="0">
                  <a:srgbClr val="000000">
                    <a:alpha val="50000"/>
                  </a:srgbClr>
                </a:outerShdw>
              </a:effectLst>
              <a:latin typeface="Arial"/>
              <a:cs typeface="Arial"/>
            </a:endParaRPr>
          </a:p>
        </p:txBody>
      </p:sp>
      <p:sp>
        <p:nvSpPr>
          <p:cNvPr id="256" name="TextBox 18"/>
          <p:cNvSpPr txBox="1"/>
          <p:nvPr/>
        </p:nvSpPr>
        <p:spPr>
          <a:xfrm>
            <a:off x="8275489" y="2809612"/>
            <a:ext cx="3414800" cy="1181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lang="ko-KR" altLang="en-US"/>
            </a:pPr>
            <a:r>
              <a:rPr lang="ko-KR" alt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①</a:t>
            </a:r>
            <a:r>
              <a:rPr lang="ko-KR" altLang="en-US" sz="29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어플을 통하여 공급</a:t>
            </a:r>
            <a:endParaRPr lang="ko-KR" altLang="en-US" sz="24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just">
              <a:defRPr lang="ko-KR" altLang="en-US"/>
            </a:pPr>
            <a:endParaRPr lang="ko-KR" altLang="en-US" sz="15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just">
              <a:defRPr lang="ko-KR" altLang="en-US"/>
            </a:pPr>
            <a:r>
              <a:rPr lang="ko-KR" alt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②</a:t>
            </a:r>
            <a:r>
              <a:rPr lang="ko-KR" altLang="en-US" sz="240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정해진 시각에 공급</a:t>
            </a:r>
            <a:endParaRPr lang="ko-KR" altLang="en-US" sz="240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7" grpId="0" bldLvl="0" animBg="1" autoUpdateAnimBg="1"/>
      <p:bldP spid="249" grpId="1" bldLvl="0" animBg="1" autoUpdateAnimBg="1"/>
      <p:bldP spid="251" grpId="2" bldLvl="0" animBg="1" autoUpdateAnimBg="1"/>
      <p:bldP spid="252" grpId="3" bldLvl="0" animBg="1" autoUpdateAnimBg="1"/>
      <p:bldP spid="253" grpId="4" bldLvl="0" animBg="1" autoUpdateAnimBg="1"/>
      <p:bldP spid="254" grpId="5" bldLvl="0" animBg="1" autoUpdate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ZgUHzteJMVIsmNTmzU8g"/>
</p:tagLst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2147483647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2147483647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2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2147483647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2147483647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/>
  <ep:Words>118</ep:Words>
  <ep:PresentationFormat>와이드스크린</ep:PresentationFormat>
  <ep:Paragraphs>47</ep:Paragraphs>
  <ep:Slides>16</ep:Slides>
  <ep:Notes>0</ep:Notes>
  <ep:TotalTime>0</ep:TotalTime>
  <ep:HiddenSlides>0</ep:HiddenSlides>
  <ep:MMClips>0</ep:MMClips>
  <ep: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6</vt:i4>
      </vt:variant>
    </vt:vector>
  </ep:HeadingPairs>
  <ep:TitlesOfParts>
    <vt:vector size="17" baseType="lpstr">
      <vt:lpstr>Office Theme</vt:lpstr>
      <vt:lpstr>반려인의 편의를 위한 사물 인터넷 기반      반려동물 케어 시스템</vt:lpstr>
      <vt:lpstr>Arial</vt:lpstr>
      <vt:lpstr>슬라이드 3</vt:lpstr>
      <vt:lpstr>슬라이드 4</vt:lpstr>
      <vt:lpstr>Office Theme</vt:lpstr>
      <vt:lpstr>슬라이드 6</vt:lpstr>
      <vt:lpstr>슬라이드 7</vt:lpstr>
      <vt:lpstr>슬라이드 8</vt:lpstr>
      <vt:lpstr>슬라이드 9</vt:lpstr>
      <vt:lpstr>슬라이드 10</vt:lpstr>
      <vt:lpstr>슬라이드 11</vt:lpstr>
      <vt:lpstr>슬라이드 12</vt:lpstr>
      <vt:lpstr>슬라이드 13</vt:lpstr>
      <vt:lpstr>슬라이드 14</vt:lpstr>
      <vt:lpstr>슬라이드 15</vt:lpstr>
      <vt:lpstr>슬라이드 16</vt:lpstr>
    </vt:vector>
  </ep:TitlesOfParts>
  <ep:HyperlinkBase/>
  <ep:Application>Hancom Office Hanshow 2014</ep:Application>
  <ep:AppVersion>0900.0000.01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1-05-07T01:42:18.000</dcterms:created>
  <cp:lastModifiedBy>User</cp:lastModifiedBy>
  <dcterms:modified xsi:type="dcterms:W3CDTF">2021-06-05T15:51:33.124</dcterms:modified>
  <cp:revision>108</cp:revision>
</cp:coreProperties>
</file>